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Lst>
  <p:notesMasterIdLst>
    <p:notesMasterId r:id="rId3"/>
  </p:notesMasterIdLst>
  <p:sldIdLst>
    <p:sldId id="258" r:id="rId2"/>
  </p:sldIdLst>
  <p:sldSz cx="10058400" cy="7772400"/>
  <p:notesSz cx="6858000" cy="9296400"/>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4608">
          <p15:clr>
            <a:srgbClr val="A4A3A4"/>
          </p15:clr>
        </p15:guide>
        <p15:guide id="4" orient="horz" pos="288">
          <p15:clr>
            <a:srgbClr val="A4A3A4"/>
          </p15:clr>
        </p15:guide>
        <p15:guide id="5" orient="horz" pos="1152">
          <p15:clr>
            <a:srgbClr val="A4A3A4"/>
          </p15:clr>
        </p15:guide>
        <p15:guide id="6" orient="horz" pos="3168">
          <p15:clr>
            <a:srgbClr val="A4A3A4"/>
          </p15:clr>
        </p15:guide>
        <p15:guide id="7" orient="horz" pos="720">
          <p15:clr>
            <a:srgbClr val="A4A3A4"/>
          </p15:clr>
        </p15:guide>
        <p15:guide id="8" pos="3168">
          <p15:clr>
            <a:srgbClr val="A4A3A4"/>
          </p15:clr>
        </p15:guide>
        <p15:guide id="9" pos="288">
          <p15:clr>
            <a:srgbClr val="A4A3A4"/>
          </p15:clr>
        </p15:guide>
        <p15:guide id="10" pos="6048">
          <p15:clr>
            <a:srgbClr val="A4A3A4"/>
          </p15:clr>
        </p15:guide>
        <p15:guide id="11" pos="345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CC9900"/>
    <a:srgbClr val="66CCFF"/>
    <a:srgbClr val="9933FF"/>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34559" autoAdjust="0"/>
    <p:restoredTop sz="86323" autoAdjust="0"/>
  </p:normalViewPr>
  <p:slideViewPr>
    <p:cSldViewPr>
      <p:cViewPr>
        <p:scale>
          <a:sx n="100" d="100"/>
          <a:sy n="100" d="100"/>
        </p:scale>
        <p:origin x="3112" y="320"/>
      </p:cViewPr>
      <p:guideLst>
        <p:guide orient="horz" pos="2160"/>
        <p:guide pos="2880"/>
        <p:guide orient="horz" pos="4608"/>
        <p:guide orient="horz" pos="288"/>
        <p:guide orient="horz" pos="1152"/>
        <p:guide orient="horz" pos="3168"/>
        <p:guide orient="horz" pos="720"/>
        <p:guide pos="3168"/>
        <p:guide pos="288"/>
        <p:guide pos="6048"/>
        <p:guide pos="3456"/>
      </p:guideLst>
    </p:cSldViewPr>
  </p:slideViewPr>
  <p:outlineViewPr>
    <p:cViewPr>
      <p:scale>
        <a:sx n="33" d="100"/>
        <a:sy n="33" d="100"/>
      </p:scale>
      <p:origin x="222"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3A16C907-40AD-9843-816B-9460D9FCCF91}" type="datetimeFigureOut">
              <a:rPr lang="en-US" smtClean="0"/>
              <a:t>4/1/26</a:t>
            </a:fld>
            <a:endParaRPr lang="en-US"/>
          </a:p>
        </p:txBody>
      </p:sp>
      <p:sp>
        <p:nvSpPr>
          <p:cNvPr id="4" name="Slide Image Placeholder 3"/>
          <p:cNvSpPr>
            <a:spLocks noGrp="1" noRot="1" noChangeAspect="1"/>
          </p:cNvSpPr>
          <p:nvPr>
            <p:ph type="sldImg" idx="2"/>
          </p:nvPr>
        </p:nvSpPr>
        <p:spPr>
          <a:xfrm>
            <a:off x="1398588" y="1162050"/>
            <a:ext cx="406082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7F64C7F2-C04D-6B4A-97A3-9A62A7D8C3F5}" type="slidenum">
              <a:rPr lang="en-US" smtClean="0"/>
              <a:t>‹#›</a:t>
            </a:fld>
            <a:endParaRPr lang="en-US"/>
          </a:p>
        </p:txBody>
      </p:sp>
    </p:spTree>
    <p:extLst>
      <p:ext uri="{BB962C8B-B14F-4D97-AF65-F5344CB8AC3E}">
        <p14:creationId xmlns:p14="http://schemas.microsoft.com/office/powerpoint/2010/main" val="3865009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D0C37A2B-255E-4196-87B1-08B85BDA34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7109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gif"/><Relationship Id="rId5" Type="http://schemas.openxmlformats.org/officeDocument/2006/relationships/image" Target="../media/image3.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02336" y="2150617"/>
            <a:ext cx="5091852" cy="954720"/>
          </a:xfrm>
        </p:spPr>
        <p:txBody>
          <a:bodyPr lIns="0" tIns="0" rIns="0" bIns="0" anchor="b">
            <a:noAutofit/>
          </a:bodyPr>
          <a:lstStyle>
            <a:lvl1pPr>
              <a:defRPr sz="3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402336" y="3149257"/>
            <a:ext cx="5092560" cy="1554480"/>
          </a:xfrm>
        </p:spPr>
        <p:txBody>
          <a:bodyPr>
            <a:noAutofit/>
          </a:bodyPr>
          <a:lstStyle>
            <a:lvl1pPr marL="0" indent="0" algn="l">
              <a:lnSpc>
                <a:spcPct val="100000"/>
              </a:lnSpc>
              <a:spcBef>
                <a:spcPts val="0"/>
              </a:spcBef>
              <a:spcAft>
                <a:spcPts val="0"/>
              </a:spcAft>
              <a:buNone/>
              <a:defRPr sz="3100" b="0">
                <a:solidFill>
                  <a:schemeClr val="accent2"/>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3889441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02336" y="335107"/>
            <a:ext cx="4526280" cy="53209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02336" y="886970"/>
            <a:ext cx="4526280" cy="858222"/>
          </a:xfrm>
        </p:spPr>
        <p:txBody>
          <a:bodyPr>
            <a:noAutofit/>
          </a:bodyPr>
          <a:lstStyle>
            <a:lvl1pPr marL="0" indent="0">
              <a:buNone/>
              <a:defRPr sz="22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02336" y="1826155"/>
            <a:ext cx="4526280" cy="5364960"/>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80155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02336" y="335107"/>
            <a:ext cx="9253728" cy="53209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02336" y="886970"/>
            <a:ext cx="9253728" cy="868982"/>
          </a:xfrm>
        </p:spPr>
        <p:txBody>
          <a:bodyPr>
            <a:noAutofit/>
          </a:bodyPr>
          <a:lstStyle>
            <a:lvl1pPr marL="0" indent="0">
              <a:buNone/>
              <a:defRPr sz="22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02336" y="1826155"/>
            <a:ext cx="4526280" cy="5364960"/>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262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9899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1638" y="2019836"/>
            <a:ext cx="9052560" cy="1295400"/>
          </a:xfrm>
        </p:spPr>
        <p:txBody>
          <a:bodyPr lIns="0" tIns="0" rIns="0" bIns="0"/>
          <a:lstStyle>
            <a:lvl1pPr>
              <a:defRPr sz="6700">
                <a:solidFill>
                  <a:schemeClr val="bg1"/>
                </a:solidFill>
              </a:defRPr>
            </a:lvl1pPr>
            <a:lvl2pPr>
              <a:defRPr sz="6700">
                <a:solidFill>
                  <a:schemeClr val="bg2"/>
                </a:solidFill>
              </a:defRPr>
            </a:lvl2pPr>
            <a:lvl3pPr>
              <a:defRPr sz="6700">
                <a:solidFill>
                  <a:schemeClr val="bg2"/>
                </a:solidFill>
              </a:defRPr>
            </a:lvl3pPr>
            <a:lvl4pPr>
              <a:defRPr sz="6700">
                <a:solidFill>
                  <a:schemeClr val="bg2"/>
                </a:solidFill>
              </a:defRPr>
            </a:lvl4pPr>
            <a:lvl5pPr>
              <a:defRPr sz="67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7979408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1638" y="2019836"/>
            <a:ext cx="9052560" cy="1295400"/>
          </a:xfrm>
        </p:spPr>
        <p:txBody>
          <a:bodyPr/>
          <a:lstStyle>
            <a:lvl1pPr>
              <a:defRPr sz="6700">
                <a:solidFill>
                  <a:schemeClr val="bg1"/>
                </a:solidFill>
              </a:defRPr>
            </a:lvl1pPr>
            <a:lvl2pPr>
              <a:defRPr sz="6700">
                <a:solidFill>
                  <a:schemeClr val="bg2"/>
                </a:solidFill>
              </a:defRPr>
            </a:lvl2pPr>
            <a:lvl3pPr>
              <a:defRPr sz="6700">
                <a:solidFill>
                  <a:schemeClr val="bg2"/>
                </a:solidFill>
              </a:defRPr>
            </a:lvl3pPr>
            <a:lvl4pPr>
              <a:defRPr sz="6700">
                <a:solidFill>
                  <a:schemeClr val="bg2"/>
                </a:solidFill>
              </a:defRPr>
            </a:lvl4pPr>
            <a:lvl5pPr>
              <a:defRPr sz="67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07414774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1638" y="2019836"/>
            <a:ext cx="9052560" cy="1295400"/>
          </a:xfrm>
        </p:spPr>
        <p:txBody>
          <a:bodyPr/>
          <a:lstStyle>
            <a:lvl1pPr>
              <a:defRPr sz="6700">
                <a:solidFill>
                  <a:schemeClr val="bg1"/>
                </a:solidFill>
              </a:defRPr>
            </a:lvl1pPr>
            <a:lvl2pPr>
              <a:defRPr sz="6700">
                <a:solidFill>
                  <a:schemeClr val="bg2"/>
                </a:solidFill>
              </a:defRPr>
            </a:lvl2pPr>
            <a:lvl3pPr>
              <a:defRPr sz="6700">
                <a:solidFill>
                  <a:schemeClr val="bg2"/>
                </a:solidFill>
              </a:defRPr>
            </a:lvl3pPr>
            <a:lvl4pPr>
              <a:defRPr sz="6700">
                <a:solidFill>
                  <a:schemeClr val="bg2"/>
                </a:solidFill>
              </a:defRPr>
            </a:lvl4pPr>
            <a:lvl5pPr>
              <a:defRPr sz="67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33445467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1638" y="2019836"/>
            <a:ext cx="9052560" cy="1295400"/>
          </a:xfrm>
        </p:spPr>
        <p:txBody>
          <a:bodyPr/>
          <a:lstStyle>
            <a:lvl1pPr>
              <a:defRPr sz="6700" baseline="0">
                <a:solidFill>
                  <a:schemeClr val="accent2"/>
                </a:solidFill>
              </a:defRPr>
            </a:lvl1pPr>
            <a:lvl2pPr>
              <a:defRPr sz="6700">
                <a:solidFill>
                  <a:schemeClr val="accent2"/>
                </a:solidFill>
              </a:defRPr>
            </a:lvl2pPr>
            <a:lvl3pPr>
              <a:defRPr sz="6700">
                <a:solidFill>
                  <a:schemeClr val="accent2"/>
                </a:solidFill>
              </a:defRPr>
            </a:lvl3pPr>
            <a:lvl4pPr>
              <a:defRPr sz="6700">
                <a:solidFill>
                  <a:schemeClr val="accent2"/>
                </a:solidFill>
              </a:defRPr>
            </a:lvl4pPr>
            <a:lvl5pPr>
              <a:defRPr sz="67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19899918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1638" y="2060477"/>
            <a:ext cx="3092180" cy="3408393"/>
          </a:xfrm>
        </p:spPr>
        <p:txBody>
          <a:bodyPr/>
          <a:lstStyle>
            <a:lvl1pPr>
              <a:defRPr sz="5300">
                <a:solidFill>
                  <a:schemeClr val="accent2"/>
                </a:solidFill>
              </a:defRPr>
            </a:lvl1pPr>
            <a:lvl2pPr>
              <a:defRPr sz="5300">
                <a:solidFill>
                  <a:schemeClr val="accent2"/>
                </a:solidFill>
              </a:defRPr>
            </a:lvl2pPr>
            <a:lvl3pPr>
              <a:defRPr sz="5300">
                <a:solidFill>
                  <a:schemeClr val="accent2"/>
                </a:solidFill>
              </a:defRPr>
            </a:lvl3pPr>
            <a:lvl4pPr>
              <a:defRPr sz="5300">
                <a:solidFill>
                  <a:schemeClr val="accent2"/>
                </a:solidFill>
              </a:defRPr>
            </a:lvl4pPr>
            <a:lvl5pPr>
              <a:defRPr sz="53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8946026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2337" y="361608"/>
            <a:ext cx="7529602" cy="6786898"/>
          </a:xfrm>
        </p:spPr>
        <p:txBody>
          <a:bodyPr/>
          <a:lstStyle>
            <a:lvl1pPr>
              <a:spcBef>
                <a:spcPts val="4011"/>
              </a:spcBef>
              <a:defRPr sz="3300">
                <a:solidFill>
                  <a:schemeClr val="bg1"/>
                </a:solidFill>
              </a:defRPr>
            </a:lvl1pPr>
            <a:lvl2pPr marL="509412" indent="-509412">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00757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2337" y="361608"/>
            <a:ext cx="7529602" cy="6786898"/>
          </a:xfrm>
        </p:spPr>
        <p:txBody>
          <a:bodyPr/>
          <a:lstStyle>
            <a:lvl1pPr>
              <a:spcBef>
                <a:spcPts val="4011"/>
              </a:spcBef>
              <a:defRPr sz="3300">
                <a:solidFill>
                  <a:schemeClr val="bg1"/>
                </a:solidFill>
              </a:defRPr>
            </a:lvl1pPr>
            <a:lvl2pPr marL="509412" indent="-509412">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7844360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02336" y="2150617"/>
            <a:ext cx="3049200" cy="953414"/>
          </a:xfrm>
        </p:spPr>
        <p:txBody>
          <a:bodyPr anchor="b"/>
          <a:lstStyle>
            <a:lvl1pPr>
              <a:defRPr sz="3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402336" y="3149257"/>
            <a:ext cx="3047695" cy="1554480"/>
          </a:xfrm>
        </p:spPr>
        <p:txBody>
          <a:bodyPr>
            <a:noAutofit/>
          </a:bodyPr>
          <a:lstStyle>
            <a:lvl1pPr marL="0" indent="0" algn="l">
              <a:lnSpc>
                <a:spcPct val="100000"/>
              </a:lnSpc>
              <a:spcBef>
                <a:spcPts val="0"/>
              </a:spcBef>
              <a:buNone/>
              <a:defRPr sz="3100" b="0">
                <a:solidFill>
                  <a:schemeClr val="accent2"/>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58582" y="452853"/>
            <a:ext cx="1892880" cy="365535"/>
          </a:xfrm>
          <a:prstGeom prst="rect">
            <a:avLst/>
          </a:prstGeom>
        </p:spPr>
      </p:pic>
    </p:spTree>
    <p:extLst>
      <p:ext uri="{BB962C8B-B14F-4D97-AF65-F5344CB8AC3E}">
        <p14:creationId xmlns:p14="http://schemas.microsoft.com/office/powerpoint/2010/main" val="414461088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2337" y="361608"/>
            <a:ext cx="7529602" cy="6786898"/>
          </a:xfrm>
        </p:spPr>
        <p:txBody>
          <a:bodyPr/>
          <a:lstStyle>
            <a:lvl1pPr>
              <a:spcBef>
                <a:spcPts val="4011"/>
              </a:spcBef>
              <a:defRPr sz="3300">
                <a:solidFill>
                  <a:schemeClr val="bg1"/>
                </a:solidFill>
              </a:defRPr>
            </a:lvl1pPr>
            <a:lvl2pPr marL="509412" indent="-509412">
              <a:defRPr sz="3300">
                <a:solidFill>
                  <a:schemeClr val="bg2"/>
                </a:solidFill>
              </a:defRPr>
            </a:lvl2pPr>
            <a:lvl3pPr>
              <a:defRPr sz="3300">
                <a:solidFill>
                  <a:schemeClr val="bg2"/>
                </a:solidFill>
              </a:defRPr>
            </a:lvl3pPr>
            <a:lvl4pPr>
              <a:defRPr sz="3300">
                <a:solidFill>
                  <a:schemeClr val="bg2"/>
                </a:solidFill>
              </a:defRPr>
            </a:lvl4pPr>
            <a:lvl5pPr>
              <a:defRPr sz="33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20371684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0787" y="4425087"/>
            <a:ext cx="1892880" cy="365535"/>
          </a:xfrm>
          <a:prstGeom prst="rect">
            <a:avLst/>
          </a:prstGeom>
        </p:spPr>
      </p:pic>
    </p:spTree>
    <p:extLst>
      <p:ext uri="{BB962C8B-B14F-4D97-AF65-F5344CB8AC3E}">
        <p14:creationId xmlns:p14="http://schemas.microsoft.com/office/powerpoint/2010/main" val="243176959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51288177"/>
              </p:ext>
            </p:ext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7" name="Object 16" hidden="1"/>
                      <p:cNvPicPr/>
                      <p:nvPr/>
                    </p:nvPicPr>
                    <p:blipFill>
                      <a:blip r:embed="rId4"/>
                      <a:stretch>
                        <a:fillRect/>
                      </a:stretch>
                    </p:blipFill>
                    <p:spPr>
                      <a:xfrm>
                        <a:off x="1747" y="1800"/>
                        <a:ext cx="1746" cy="1799"/>
                      </a:xfrm>
                      <a:prstGeom prst="rect">
                        <a:avLst/>
                      </a:prstGeom>
                    </p:spPr>
                  </p:pic>
                </p:oleObj>
              </mc:Fallback>
            </mc:AlternateContent>
          </a:graphicData>
        </a:graphic>
      </p:graphicFrame>
      <p:pic>
        <p:nvPicPr>
          <p:cNvPr id="14" name="Picture 13" descr="Cover-image-3.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0"/>
            <a:ext cx="10058400" cy="7772400"/>
          </a:xfrm>
          <a:prstGeom prst="rect">
            <a:avLst/>
          </a:prstGeom>
        </p:spPr>
      </p:pic>
      <p:sp>
        <p:nvSpPr>
          <p:cNvPr id="15" name="Rectangle 14"/>
          <p:cNvSpPr/>
          <p:nvPr/>
        </p:nvSpPr>
        <p:spPr>
          <a:xfrm>
            <a:off x="405973" y="-1"/>
            <a:ext cx="6035040" cy="388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US" dirty="0"/>
          </a:p>
        </p:txBody>
      </p:sp>
      <p:pic>
        <p:nvPicPr>
          <p:cNvPr id="16" name="Picture 15" descr="DEL_PRI_RGB.gif"/>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7668" y="415461"/>
            <a:ext cx="1892880" cy="365535"/>
          </a:xfrm>
          <a:prstGeom prst="rect">
            <a:avLst/>
          </a:prstGeom>
        </p:spPr>
      </p:pic>
      <p:sp>
        <p:nvSpPr>
          <p:cNvPr id="2" name="Title 1"/>
          <p:cNvSpPr>
            <a:spLocks noGrp="1"/>
          </p:cNvSpPr>
          <p:nvPr>
            <p:ph type="ctrTitle"/>
          </p:nvPr>
        </p:nvSpPr>
        <p:spPr>
          <a:xfrm>
            <a:off x="684022" y="1131144"/>
            <a:ext cx="5366742" cy="759782"/>
          </a:xfrm>
        </p:spPr>
        <p:txBody>
          <a:bodyPr anchor="b"/>
          <a:lstStyle>
            <a:lvl1pPr>
              <a:defRPr sz="3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4022" y="1895083"/>
            <a:ext cx="5366742" cy="759782"/>
          </a:xfrm>
        </p:spPr>
        <p:txBody>
          <a:bodyPr>
            <a:noAutofit/>
          </a:bodyPr>
          <a:lstStyle>
            <a:lvl1pPr marL="0" indent="0" algn="l">
              <a:spcBef>
                <a:spcPts val="0"/>
              </a:spcBef>
              <a:buNone/>
              <a:defRPr sz="3100" b="0">
                <a:solidFill>
                  <a:schemeClr val="accent2"/>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355351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02336" y="1826155"/>
            <a:ext cx="9253728" cy="5365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3361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6173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02336" y="886970"/>
            <a:ext cx="9253728" cy="858222"/>
          </a:xfrm>
        </p:spPr>
        <p:txBody>
          <a:bodyPr>
            <a:noAutofit/>
          </a:bodyPr>
          <a:lstStyle>
            <a:lvl1pPr marL="0" indent="0">
              <a:buNone/>
              <a:defRPr sz="22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02336" y="335107"/>
            <a:ext cx="9253728" cy="53209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02336" y="1826155"/>
            <a:ext cx="9253728" cy="5365531"/>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5173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02336" y="886970"/>
            <a:ext cx="9253728" cy="858222"/>
          </a:xfrm>
        </p:spPr>
        <p:txBody>
          <a:bodyPr>
            <a:noAutofit/>
          </a:bodyPr>
          <a:lstStyle>
            <a:lvl1pPr marL="0" indent="0">
              <a:buNone/>
              <a:defRPr sz="22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02336" y="335107"/>
            <a:ext cx="9253728" cy="53209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7902964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02336" y="335108"/>
            <a:ext cx="5934456" cy="1409395"/>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Content Placeholder 3"/>
          <p:cNvSpPr>
            <a:spLocks noGrp="1"/>
          </p:cNvSpPr>
          <p:nvPr>
            <p:ph sz="quarter" idx="10"/>
          </p:nvPr>
        </p:nvSpPr>
        <p:spPr>
          <a:xfrm>
            <a:off x="402336" y="1826155"/>
            <a:ext cx="5934456" cy="5366885"/>
          </a:xfrm>
        </p:spPr>
        <p:txBody>
          <a:bodyPr/>
          <a:lstStyle>
            <a:lvl1pPr>
              <a:tabLst>
                <a:tab pos="5603535" algn="r"/>
              </a:tabLst>
              <a:defRPr/>
            </a:lvl1pPr>
            <a:lvl2pPr>
              <a:tabLst>
                <a:tab pos="5603535" algn="r"/>
              </a:tabLst>
              <a:defRPr/>
            </a:lvl2pPr>
            <a:lvl3pPr>
              <a:tabLst>
                <a:tab pos="5603535" algn="r"/>
              </a:tabLst>
              <a:defRPr/>
            </a:lvl3pPr>
            <a:lvl4pPr>
              <a:tabLst>
                <a:tab pos="5603535" algn="r"/>
              </a:tabLst>
              <a:defRPr/>
            </a:lvl4pPr>
            <a:lvl5pPr>
              <a:tabLst>
                <a:tab pos="5603535"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59498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02336" y="335107"/>
            <a:ext cx="9253728" cy="53209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02336" y="886970"/>
            <a:ext cx="9253728" cy="858222"/>
          </a:xfrm>
        </p:spPr>
        <p:txBody>
          <a:bodyPr>
            <a:noAutofit/>
          </a:bodyPr>
          <a:lstStyle>
            <a:lvl1pPr marL="0" indent="0">
              <a:buNone/>
              <a:defRPr sz="2200" b="0">
                <a:solidFill>
                  <a:srgbClr val="575757"/>
                </a:solidFill>
              </a:defRPr>
            </a:lvl1pPr>
          </a:lstStyle>
          <a:p>
            <a:pPr lvl="0"/>
            <a:r>
              <a:rPr lang="en-US" dirty="0"/>
              <a:t>Click to add subtitle</a:t>
            </a:r>
          </a:p>
        </p:txBody>
      </p:sp>
      <p:sp>
        <p:nvSpPr>
          <p:cNvPr id="3" name="Content Placeholder 2"/>
          <p:cNvSpPr>
            <a:spLocks noGrp="1"/>
          </p:cNvSpPr>
          <p:nvPr>
            <p:ph sz="quarter" idx="16"/>
          </p:nvPr>
        </p:nvSpPr>
        <p:spPr>
          <a:xfrm>
            <a:off x="402336" y="1826155"/>
            <a:ext cx="4526280" cy="5366885"/>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5129784" y="1826155"/>
            <a:ext cx="4526280" cy="5366885"/>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101651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02336" y="335108"/>
            <a:ext cx="9253728" cy="1410084"/>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402336" y="1826155"/>
            <a:ext cx="9253728" cy="5365531"/>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402336" y="7345931"/>
            <a:ext cx="502920" cy="139526"/>
          </a:xfrm>
          <a:prstGeom prst="rect">
            <a:avLst/>
          </a:prstGeom>
          <a:noFill/>
        </p:spPr>
        <p:txBody>
          <a:bodyPr wrap="square" lIns="0" tIns="0" rIns="0" bIns="0" rtlCol="0" anchor="b">
            <a:spAutoFit/>
          </a:bodyPr>
          <a:lstStyle/>
          <a:p>
            <a:pPr algn="l"/>
            <a:fld id="{95CC1D26-A9BD-4BDE-BDD9-08EDBAE96860}" type="slidenum">
              <a:rPr lang="en-US" sz="900" smtClean="0">
                <a:solidFill>
                  <a:srgbClr val="8C8C8C"/>
                </a:solidFill>
              </a:rPr>
              <a:pPr algn="l"/>
              <a:t>‹#›</a:t>
            </a:fld>
            <a:endParaRPr lang="en-US" sz="900" dirty="0">
              <a:solidFill>
                <a:srgbClr val="8C8C8C"/>
              </a:solidFill>
            </a:endParaRPr>
          </a:p>
        </p:txBody>
      </p:sp>
      <p:sp>
        <p:nvSpPr>
          <p:cNvPr id="7" name="TextBox 6"/>
          <p:cNvSpPr txBox="1"/>
          <p:nvPr/>
        </p:nvSpPr>
        <p:spPr bwMode="gray">
          <a:xfrm>
            <a:off x="1005840" y="7345931"/>
            <a:ext cx="2996565" cy="139526"/>
          </a:xfrm>
          <a:prstGeom prst="rect">
            <a:avLst/>
          </a:prstGeom>
          <a:noFill/>
        </p:spPr>
        <p:txBody>
          <a:bodyPr wrap="square" lIns="0" tIns="0" rIns="0" bIns="0" rtlCol="0" anchor="b">
            <a:spAutoFit/>
          </a:bodyPr>
          <a:lstStyle/>
          <a:p>
            <a:r>
              <a:rPr lang="en-US" sz="900" dirty="0">
                <a:solidFill>
                  <a:srgbClr val="8C8C8C"/>
                </a:solidFill>
              </a:rPr>
              <a:t>Footer</a:t>
            </a:r>
          </a:p>
        </p:txBody>
      </p:sp>
      <p:sp>
        <p:nvSpPr>
          <p:cNvPr id="9" name="TextBox 8"/>
          <p:cNvSpPr txBox="1"/>
          <p:nvPr/>
        </p:nvSpPr>
        <p:spPr bwMode="gray">
          <a:xfrm>
            <a:off x="4878324" y="7345931"/>
            <a:ext cx="4777740" cy="139526"/>
          </a:xfrm>
          <a:prstGeom prst="rect">
            <a:avLst/>
          </a:prstGeom>
          <a:noFill/>
        </p:spPr>
        <p:txBody>
          <a:bodyPr wrap="square" lIns="0" tIns="0" rIns="0" bIns="0" rtlCol="0" anchor="b">
            <a:spAutoFit/>
          </a:bodyPr>
          <a:lstStyle/>
          <a:p>
            <a:pPr marL="0" marR="0" indent="0" algn="r" defTabSz="1018824" rtl="0" eaLnBrk="1" fontAlgn="auto" latinLnBrk="0" hangingPunct="1">
              <a:lnSpc>
                <a:spcPct val="100000"/>
              </a:lnSpc>
              <a:spcBef>
                <a:spcPts val="0"/>
              </a:spcBef>
              <a:spcAft>
                <a:spcPts val="0"/>
              </a:spcAft>
              <a:buClrTx/>
              <a:buSzTx/>
              <a:buFontTx/>
              <a:buNone/>
              <a:tabLst/>
              <a:defRPr/>
            </a:pPr>
            <a:r>
              <a:rPr lang="en-US" sz="900" dirty="0">
                <a:solidFill>
                  <a:srgbClr val="8C8C8C"/>
                </a:solidFill>
              </a:rPr>
              <a:t>Copyright © 2014 Deloitte Development LLC. All rights reserved.</a:t>
            </a:r>
          </a:p>
        </p:txBody>
      </p:sp>
    </p:spTree>
    <p:extLst>
      <p:ext uri="{BB962C8B-B14F-4D97-AF65-F5344CB8AC3E}">
        <p14:creationId xmlns:p14="http://schemas.microsoft.com/office/powerpoint/2010/main" val="265468392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transition>
    <p:fade/>
  </p:transition>
  <p:txStyles>
    <p:titleStyle>
      <a:lvl1pPr algn="l" defTabSz="1018824" rtl="0" eaLnBrk="1" latinLnBrk="0" hangingPunct="1">
        <a:spcBef>
          <a:spcPct val="0"/>
        </a:spcBef>
        <a:buNone/>
        <a:defRPr sz="3100" kern="1200">
          <a:solidFill>
            <a:schemeClr val="accent2"/>
          </a:solidFill>
          <a:latin typeface="+mj-lt"/>
          <a:ea typeface="+mj-ea"/>
          <a:cs typeface="+mj-cs"/>
        </a:defRPr>
      </a:lvl1pPr>
    </p:titleStyle>
    <p:bodyStyle>
      <a:lvl1pPr marL="0" indent="0" algn="l" defTabSz="1018824" rtl="0" eaLnBrk="1" latinLnBrk="0" hangingPunct="1">
        <a:spcBef>
          <a:spcPts val="1337"/>
        </a:spcBef>
        <a:buSzPct val="25000"/>
        <a:buFont typeface="Arial" panose="020B0604020202020204" pitchFamily="34" charset="0"/>
        <a:buChar char="‏"/>
        <a:defRPr sz="2000" b="0" kern="1200">
          <a:solidFill>
            <a:schemeClr val="tx2"/>
          </a:solidFill>
          <a:latin typeface="+mn-lt"/>
          <a:ea typeface="+mn-ea"/>
          <a:cs typeface="+mn-cs"/>
        </a:defRPr>
      </a:lvl1pPr>
      <a:lvl2pPr marL="226405" indent="-226405" algn="l" defTabSz="1018824" rtl="0" eaLnBrk="1" latinLnBrk="0" hangingPunct="1">
        <a:spcBef>
          <a:spcPts val="669"/>
        </a:spcBef>
        <a:buClrTx/>
        <a:buSzPct val="100000"/>
        <a:buFont typeface="Arial"/>
        <a:buChar char="•"/>
        <a:defRPr lang="en-US" sz="2000" kern="1200" dirty="0" smtClean="0">
          <a:solidFill>
            <a:schemeClr val="tx2"/>
          </a:solidFill>
          <a:latin typeface="+mn-lt"/>
          <a:ea typeface="+mn-ea"/>
          <a:cs typeface="+mn-cs"/>
        </a:defRPr>
      </a:lvl2pPr>
      <a:lvl3pPr marL="481112" indent="-226405" algn="l" defTabSz="1018824" rtl="0" eaLnBrk="1" latinLnBrk="0" hangingPunct="1">
        <a:spcBef>
          <a:spcPts val="669"/>
        </a:spcBef>
        <a:buClrTx/>
        <a:buSzPct val="100000"/>
        <a:buFont typeface="Arial"/>
        <a:buChar char="−"/>
        <a:defRPr lang="en-US" sz="2000" kern="1200" dirty="0" smtClean="0">
          <a:solidFill>
            <a:schemeClr val="tx2"/>
          </a:solidFill>
          <a:latin typeface="+mn-lt"/>
          <a:ea typeface="+mn-ea"/>
          <a:cs typeface="+mn-cs"/>
        </a:defRPr>
      </a:lvl3pPr>
      <a:lvl4pPr marL="735818" indent="-226405" algn="l" defTabSz="1018824" rtl="0" eaLnBrk="1" latinLnBrk="0" hangingPunct="1">
        <a:spcBef>
          <a:spcPts val="669"/>
        </a:spcBef>
        <a:buClrTx/>
        <a:buSzPct val="100000"/>
        <a:buFont typeface="Arial"/>
        <a:buChar char="◦"/>
        <a:defRPr lang="en-US" sz="1800" kern="1200" baseline="0" dirty="0" smtClean="0">
          <a:solidFill>
            <a:schemeClr val="tx2"/>
          </a:solidFill>
          <a:latin typeface="+mn-lt"/>
          <a:ea typeface="+mn-ea"/>
          <a:cs typeface="+mn-cs"/>
        </a:defRPr>
      </a:lvl4pPr>
      <a:lvl5pPr marL="990524" indent="-226405" algn="l" defTabSz="889703" rtl="0" eaLnBrk="1" latinLnBrk="0" hangingPunct="1">
        <a:spcBef>
          <a:spcPts val="669"/>
        </a:spcBef>
        <a:buClrTx/>
        <a:buSzPct val="100000"/>
        <a:buFont typeface="Arial"/>
        <a:buChar char="−"/>
        <a:tabLst/>
        <a:defRPr lang="en-US" sz="1800" kern="1200" baseline="0" dirty="0" smtClean="0">
          <a:solidFill>
            <a:schemeClr val="tx2"/>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flipV="1">
            <a:off x="3333750" y="-685800"/>
            <a:ext cx="0" cy="4000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692900" y="-685800"/>
            <a:ext cx="0" cy="4000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3333750" y="7894320"/>
            <a:ext cx="0" cy="4000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AutoShape 2" descr="data:image/jpeg;base64,/9j/4AAQSkZJRgABAQAAAQABAAD/2wCEAAkGBhQREBUUEhQUFRUWGB4YGRgYGB8bGhoeGxsZHxogGhwYHScfHBkjGRYbIDEgJCcpLCwsHB4xNTAqNSYrLCkBCQoKDgwOGg8PGjQkHyQpLCwsLDMpLCosLi8sMC8sLDIpLC8sKSosMC4vLDAsLDAsLCwsLCktKSwsLCwsLCwsL//AABEIARQAtwMBIgACEQEDEQH/xAAcAAACAwEBAQEAAAAAAAAAAAAABgQFBwMCCAH/xABPEAACAQIEAwQFBQkOBQUBAAABAgMEEQAFEiEGMUETIlFhBxQycYEzQlJykRUXI2KCkqGxsiQ0NUNTVHN0k6KzwdHTlNLh4/AWJURjwoP/xAAbAQACAwEBAQAAAAAAAAAAAAAAAwECBAUGB//EADURAAIBAgMEBgkFAQEAAAAAAAABAgMRBCExBRJBURMyYXGBkRQiNKGxwdHh8AYVM1LxJCP/2gAMAwEAAhEDEQA/ANxwYMGAAwYMGAAwYMGAAwYMeXcAEkgAbknkMAHrFZn3EtPRR9pUyrGvS/tN5Ko3Y+4YVsw49mq5Gp8njEzA2eqf5CL3H57e7bwDDEzIPRxFFJ6xVu1ZVHcyy7qv9Gh2UDpzt0tywAVw4izLMv3jD6nTn/5NQLyMPGOL/M3HmMVEHDVOajRBm9V90rkMxJYkjmrxEbIOdibDzGHbjiuqoYI2ok7SYzIoS1wwOrUG3Fltve4ta/TChFU1y5nUSx0VMas0sWpPWdgC8guD2YuToQFdQsFXvG+wSWI4zrcu7uaU/aQjb1umF198kfNfft5A4c8pzmGqjEtPIkiHqpv8COYPkbHEDg2qmmoY3qgRM2vtFItY9o4K26AWtbwHXFJm/o2CyGoyyU0VR1C/IyeTx8gPcLdbE4CB3wYScl9IRSUUuaReqVB9lr/gJvNH5D3E+V77YdsABgwYMABgwYMABgwYMABgwYMABgwYMABgwYMABgwYpuKeKocvgMsxNzsiLu8jdFUePn0wASs8z2GjhaaocIi9TzJ6BRzLHwGEeOgq88Ieo10uXc1gBtLOOhkPzUPO32X2fHXLOGpap/ujm43QF4aTmkKgXuwPtSm3X49At68dZLCJo5gpYahEFFrHcDUb3a3jtfwwudTdytcso3K+oqUiDUkYFHDGhsAvef6tuhJuTfU2+/PDHkUcqxAStGwsNBS/sgCxJPMnnijdXraVZlFqiJ7AgWuQR48huDvyIOPzPePlpNMAT1muYbQQXNj4ud9C233362tvjPRvKbk+WX52F5ZKw11FQsal3ZUVRcsxAAHiSdgMZdlvEOVLmrVC1tT2r90yvYU78vwd+zAAUBfAbAhsfnEmRVBpZK7OH7YRAMlFE2mFSWAXWwN3ILC5367nlhZn9K5eH1d6KgaEA/gwTosACCu1gTqsLd4G9wLHGwWb0jggEEEHcEciPLFPxXXBICg3eXuIBzueo936yMJmW5FV0cEdVlLNJTyospoZ2vpDqGtE/Rhfl+1yxc8NZ3S5hUiVS8dTECJKaXZ0NrXAboL8xtuLgHCqqk42jxJjZO7PzO8vPqypmIjqIXIVgR34yQbMrjmRY78/PFYtTVZEQJC9XlvISc5qcdNX0o/P7NOylgagNZUSCdnVIX2jC2BG9iW63Avt0PMY9xcWCZmSOneVBsbW5cvZO1iOl8Ip1FDJvLhxeWpdxvoXuX5hHPEssLq8bi6spuD/ANelumJGMxegky0tW5WrSUjMTU0XIoR7TRD5rDqvh4i2l+yLPYa2BZ6dw6N9oPUMOjDwxrTTV0LasWGDBgxJAYMGDAAYMGDAAYMGDAAYMGI+YV6QRPLKwREUszHoB/5y64AIPE/EsVBTNPMdhsqj2nY8lUdSf0C5Owws8K8NyVFQMwzK3rDAmnpzyp08lPOTcEnpfff2YWS0z5jKc1q0IghDNRwN0A37Vxy1MQLfA8gpwx5ckLGFpz2k8y6wdyEG1goHsAXtfxB3wqdTdaSLKOQw1NOJEZDyZSp9xFsL+WZfWUwMamF4/mlyRp+AHLrb9OLSkzPVJOGsI4mtrvYeyCwN/ok8+X2YSKmumz6Voadmiy5DplnGzVBHNI78k8T9v0TDhGo1JcCbtZHgZ3PVs9HlTDSGJqa4juBmN2EI+c3gR0tb6eG7hXg2ny9CIgWkbeSZ95JDzJZvC/QbfHfFnleVxU0SxQIscaCwUf8AlyTzJO5xyz3PIqOB5520og+JPRVHVidgMNSUVZFW7lD6VNBymoV5Ej1BQC99yHVgoCgksdJsAPsFyMNm4bZUM5EgB1XW95EUiyuwA3JNyyjkCbbjDXmGdSVlZHLVqwZgTBCBdIVHVj1lIG7W22G2wEhMuQTNMAdbLpO+1hbp+SP/AAm/Or4zdlaP+/nMfCllmapwcynL6UI6SKsMa60N1JVAptcA8wdiAfEA4hcWcCw11pAWgqU3jqI9nUjle1tS+R87EXxmfDvE7UE8skCu1OHtUQWtv1lhF/aAG67XFvIjaaCvjniWWJg8bjUrDkQcbqdRVFdCZRcWJ2RcZSwzihzULHM20U42iqBy2OwV/Lbc8gSAZeTUkcLqkj9jLEWubhe1Qm67nYry8xbpi84g4ehroGhqEDoeXip6Mp6MPH4G4JGEnL8zky6eOizQiaAt+5atxtccklJ5MPE/pG4rUp7zT4omMrZDiAsMsspdQsgUqmpRqIUXYFiNzsOfv6YSa6magdsyy1S0Dn92Uo8vadByV13J6deROGLMaSJ69jUkBFjBQMbK1ufvsb7eYxypa8tO0lHCBCi2kt3RJb6I5awL26+NrjCFV3ZW4XeXHvL7t0MeT5vFVwJNAweNxcH9YI6MDsR0OJuMxkkGT1Aq6fvZZVMO2RRcU7nYOo6KTsR05fQGNLilDKGUhlYAgg3BB5EEcwRjYnfNCT3gwYMSAYMGDAAYMGDAAYzfPJ/uvXNTarZfRnVUvewlkHKO/wBFbb+49dJxeekPiN6eBIKberqm7KEDmL+0/kFB59CQeQOPMHCPqmWpTU4DlGVpL7GVrguT7zbYnkAOgxScnGLaJSuyf910aJhInYwMpRGJA1KRbupzGx28rYr8n4ZmQExVKBHA7yLdiOlifZ59DjjNSsWM9aAWO0VONyx6CwPK/wD18DXZ/XTaIMppGtUypeeQcoIibubj5x1WHlbkWU4xwi6s/XWng/G3PzGt7qyI9ShzSY0FIzJQQN+6pwd5nvcxo3W55n/IKG0agoI4I1iiUIiDSqjkAMRsgyKKip0ggXSiC3mT1Zj1Ync4mVFUkalpGVFHNmIAHxO2NySSshTdzrjF+KM5fM6h5IyOwgJWmB9l5Bs0reI5hfLfqb6NxXmHa5ZVtSSJI3YvpKMG+ab2Kn2rXt54ySiy/X6uKVm7SZFhiW/cAI1Fyv4igsfd54zYmUklGOrGU0tXwJtPlk1ZBP3tMdPC5nkTbXIsZIijJ6XsWPQWG18V2YUaiCWUFtbU4BF9raRbbn08fHxONgnyOOlyqWniHdWnkFzzYlG1Mx6szEknxOMdnp4uwLi3atBGG72+k6LXW+3LnbpjNVpKluRXPz0Lxk5XbL7iTKJ6JzArBtYvTyv84AjUj2Hyqr1t3hY9GtL4FzpqCqWncj1aqay/RinPRfCOQ8h0a3njROJshWtpmiY6W9qN+qOu6MPceY6gkdcfOfEdbIszoyuJDdXXVcLIndGgW2KyLe/UWItqw/oXTq3ho9fz4Fd7ejZn1FiBnmRxVkDwTqGRxv4g9Cp6MOYOPKZmsMMZqpI43Krq1OqjVYarXO+9+WJ0UoYBlIYHkQbg+4jGwSZ3klS9LN9ysxIkDA+p1DgEOtrBTflKuw+wdV1XJrp4aYU6U0naW0agLob82BHU897WJ3xZ8XcLR5hTGJ+6w70cg9qNx7LD/MdRf34rOAuJ5JhJS1Y01tL3ZB/KL82RfEMLX94O2oDCalLed07PQupWLqkyCIUxgdAyutpFPJiVCt9tunvwpcH1b5bVnK6hiYmu9FI3zk5mMn6S9PjyBUY0HCVxflf3QWWnDKlVTsJqaRdiGABAuTseQPTdTbbF/VhaPgRm8x1wYXuBuKPX6RZGGmZCY5k5FJF2YW6A8wPO3TDDi5UMGDBgAMeXcAEkgAC5J5D349YSvShmT9hHRQH8PXP2K/ipt2rHyCmx8mPhgAp8hrDUzVOcOLqt6eiVuQUNpL/lMT/fHhh0y2kiimKs5eoKh3Yk96+2w5WFth0FsQJKOPsPufTq2mOMJqA7qMtiocjq1rk+J89o2VZRUkyRvKiardoQweUi1gL9BYWHxxjnN9IrK6+ed/l7xqXq8gzHiCKlo3r5Y4zIupIyuxlNyqfFiPOwBPljr6PuGXp4nnqe9WVR7SZjzW/soPAKDy8bjkBilpqZcxzYIo/cWV2AHR6j/PRb7R+NjQqidY0Z3IVVBZidgABck+QGNMI7sbcSjd2e2NhfGDT8TCfM4KjMIjUU80TvT04XWFvI6QhU9lpGMW5P0x4C1pJ6XKj1tZmCjL2fszHYawjXAlY21AmxYDlYWtfvY4miEMFNKwvLk1T2U4A3MDSakkA6jQQw/LPTFk09CLWI/FmYimmjqKKkagniF5qdkVBPE7Kqm0ZKSIG7jW3GsHpcc+EJ+yhqpBBNMY4uxp40Usyx1IkdZH0kEJpVELKbix5Xw9ekaijnnyvcG9Te46xqnaP71IjX9GFrIKv7n0uVV5BKSRNSyoouzKzPJAVXqVII9zYGlqwLzgPNZGopaURF4IIXVKkMNL90MqlLkhtEgub22Ow2wgxpE0CadPbNFAGt7WktEB/l+jywyUHGvqkb0tPCAJHdwKqoTWO1JNhHChAW52GrrhRp5HGiNRTl10IHs4LmFlOnWRpJvHyB8fDGKvKMnFp6DoJq5ofpWzmUg0phKRbSrKXFpmjGoRqqsGUmUxqTe9ibWNjhB4sz1J80apSmkQQ6JZI5V0t2iWVQ4B2Dv2CnqQPPDDmvpQinkgaqhN6eTtUFPUIyu4BChxIgFt+Ya/O18RMly7Vl3r8xDNV5lA0luiLUWIPheRm28NONialoK0OvB1SjrJLV0UmZ1cpErkRpJ2MTKOzU9oQqswuwjXfSV5ch44O4l7HMZpaQaMvaohhaGxCr24ZVdVPssJE3A6NboLOPo1MdDllS0ht2FROJWPP8EdI+OhFsPdhUyzLhBS0ySjTLV1H3RqB/JU8F5BqtyvYW82I6YsQbZhH9IeTyRmPMqQfuil3df5WH56HxsLkfHrbCpw96W6k1QlqtAo5n0qtgGgUmyOSBcpfusW63ItsDsXMYhNPQLWKL/wBXxNSRVMavIkw7mm3M/NbfY3BHXcHFIlLUqzTmnbtGcSKQw2G90K+1pKkjx5eGIvDiDLMzkoGH7mqb1FLfkrjeSMe61x4WHVsMebZnUNP2FKouoBdyNhfkN9uW/U/ZjLXhf1pN9iS4jIPghYqqlcvzSGsj2pMx0xzeCTfxbnoL7g/lk40fCjneVvWU0tDVCMNJGWikS+nUtrbEXBVtJ25i+O3o54garoV7W4nhJgmB5h49iT5kWPvJxohLeQtqw0YMGDFyAwg8PD17OqqqO8VGPVYfDXzmYeYuV9zDDTxVnQo6KeoP8XGWHm3JB8WIGFjgumlpMvp4IlDVEqGokLbBe0NyW8W3C/k4rKSirslK5YZfnqUjywzgqe0Zw9r6gxuCbb8uv+mIPEHEBpKWrrVUq0oSKBSO872IVre86rdQuLKjqphOiVsSHUbRyaQbHna48beRxU55+7s8pqbnFRJ61KOhkNhED5jZvcTjLQTlq8k8laz8fMZN2L/gbhv1GhihO8ltcp+lI27knrY92/gox742ySSsoJqeF1R5ABqa9ralLA6d91BHI88WWaZilPBJNIbJGjO3uUE/btil4W4+pa8AI3ZzWuYZO7IPcOTjzW/wxsF2drmM1fC9SK31AxoJXQhRrJjKFTcqzjVoFtWncqybDvGzdl2axoKCql7y1FHPT1akDv8Aq0bNcgbFgUdb+DAYfeMeH3qokaBlWogkWaFm9nUvNWtvodSVPvHhjK824CrauoPYU89Krlu0WWRGgjMhBlMTK5Yq5AJUJc8r22FYwUdCW7lZLxRJHl+XTaSywtV041G5Cuiqne+ksbkA/i4eavL0q+FYwlyYqZHXQoZtcI3AHMbqykjexPuN3VejWFsqShVrGPvpKVB/C3JLMvIhizAr9E2wl0eVVtCGgRMxgRiSy0kcdTEb8zDJIwkhv4NcjxOLEGbJmTndE1dmFZm7zXK6VVm1EqWvpAOnnYYdx6N80B7YRQB7avai1XI327L2vjhjyvgaIprrYY6Khi7wheUGSV9Nu1qpQQLgE6UB2LHlyMK2QCoEclLLHGyhkmkMyxOCWFxd9QQlTZyoU79LEq6KHFFk5PQyqtlYlQyaWtqUAHcMLrpFyADcEBVGNt4zpI6HhxYdxpEAW4CsX7RHa4HJu6xPPkefPELNuB+xs1PC1VSE9pA9PIBU0jEhrwMxtLEW7wW+xJ95gVXD9dmTIsi1kuj2XrIo6eGK+2oxREtPJblyHjcXGGJJaFW7lMeKL0Hazp+Aqs1aWZF5GNVjdl35gsB79B5XwwZ6zTxZjIp/D1VYmWw+CxqUBW+9lYF2NvI4a859GcUuVLQxtpMXejkYX/Cb3ZrdHLNe30tuQwi8OcI5hSz6pKaaedTeItIgpVfRoEznXqdgm1tAb42tIFJlnC9TW1M9IqIHjuJS7kRoR3VBMYOsgWCry2LEXJA3rIaJ4aWGKVg8kcaIzC9mKqATvv064jcJ8PiipUh1a33eR+ryOSzt8WP2AYhZ9x7BTa1UPUSRgtIkI19ko3ZpWHdQAAmxNz0BxWMFHQG7kb0mZI09H20O1RSMKiIjndN2HndRy6kLjplebSTQJWUqLItQisyFrFXUaTY9QCNJHivnhoRwyggggi4I5EHl8MZ/wTqo6qvy5bDQfWaa+40Sc1+qr6R7y2InG6JTGHJqKoknM9SAtlKog6X5mwJ8OpufgMUNMwoc+IFuwzKPWtvZ7aMb2+shv5lhixekqZ9AqJxCJL6Y1G52uQbeXiTij43o2XLu0TebLKhZFPUqpB+zs3BP1cZ6ErPds+963/wvJcTSsGOFBWLNEkqbrIquvuYAj9BwY1ihL9Kh7YUdCL/uupQOP/rj7z/ZdT8MXmbxSh1npNLsgMbpsQQDy58wb7XvijqPw/EkQ+bSUjP7nlbT+wR9mCplpElbRPUK5J1SIRpuTve1iRfwxmxMrRV/jbyGQV2XtK085R6iNYY4zrte5YgG31VFyd/AYovRWhmSqr2HerKhmW/8nGSsY+HeHwGDiuplo8prZHmMuqMJE1+kllBHneS/wGGXhPKvVaGnhtYxxKD9a12/vEnDKS9W717SstRT9MubaKWKnB3qJLt9SKzN9r9mPicZLJEG5i9tx4g+IPMH3YaPS1nOrMnBuVp40i26F++5+xkHwwsRyhhdSCMZMQ3vXXA9jsSnTVBxla8s2uzReGTL7KuOq+msEqDIo+ZOO0H51w/97DDTemeoHylJC/mkrJ+hkb9eELBiixE1xNdXY+EqO+7buf4jRH9NkltqJb+dRt+iLFVX+lmvk2QU8AJ5qpkYb+LkL/dwoYjrWqXCLuepHIbjDI16kmY62ycHQg3K987XfHwsfQFHwRAHEs5kq5V3D1Da9J/EQARp+SoPnjPPS9/CKf1ZP8SfGyDGN+l7+EU/q6f4k+NNf+NnC2P7ZDx+DFCgzaejDPSzSQ2BYqp7hIHWNgUPvtfG00v3UVFIaiqAVB76yQPuL7lO0U/YMYXVfJv9U/qOPpXLvkY/qL+yMLw0m07m3b1GnTnBwile97eBRnN8xH/wID5is2/TADgNRmj8oaGDzaWSY/mrHGP72GXBjUedFg8Iyz/v2smlXrFCPV4j5HsyZGHkZLeWLqjyaGGHsYoo0isQUVQFNxY3A5kjmTzxNwYAFvgSQrTNTOSXpJGpyTzKpYwn4wtH+nFPxwPVcyy6tGylzSSn8WW+i/kG1H7MW8A7HOJF5LVU6yfl07aG+Jjlj/Nxx9KOWdvlNSB7Ua9qp6gxkNt56QR8cAHqry01NdIGfT2SAJY2YMQrBgPAEm59wxLy/hwiCeOoftDPdWIv7JXT162J/RiJTZrNNDTVFPDG7TwBmYixGymxa42uTt5Y85dU1c8qlpI1EbjXCLqwHW4I3Fjcb2OMPqwqaNu79/0Q7Nx7CN6JKxmy1Yn+UppHp296Nt9isB8MGOHCH4DOczp+khjqV/LFpP7xH2YMbhJDyOQvW55UDmumBT4dnGwP6bYvaLNKAwBWEYstipTe9t9wNz5g4rPRWglgrZGAYTV07WIuCLrbnhynyiFxZokI+qP0Ebj4YRUhJyvG2nFF00lZmecXxa6PLKU3/dFXHsf5MMzb/ksuNNwhcRwg5zlEA9mJZn8fZjAX9K4dczquygkk+gjN+apP+WGwjuxS5Iq3d3PnXNqkVFRUyHcSzSH8nUVX+4oxUUcQ1GPdJF5OpFmB5a0YgNz5ruPA2xLohaNPqj9WOVYjKRKgBZeYIuGHgR1Hljnqd5Ncz2WLwcvRKc6fWglpra2f1OMlZIO4Qpc+yysGRrHexBt0PxHTBT1rqoaSxDKWW3PZylj05jHesUSRppZWABKuZLPZrao9ANwQ17LuLciMWOZZFTxOkbPUnY2sykKmqx9oCykn9BOJbgrJrX5HHjtLEJqTk3by7MuL7e4o55CSe1Nl0lggOnVa3ziNwdxsDcg8h3sScvhsNRABcg2AsAL7ADwxzeczExqTo1an8LLZUVfIKov4m56DE/w94/WMWlK1om7AUZ1o1MTVd8mk33O9vhy1PpoYxv0vfwin9XT/ABJ8bIMY36Xv4RT+rp/iT401/wCNnL2P7ZDx+DEWq+Tf6p/UcfSuXfIx/UX9kY+aqr5N/qn9Rx9K5d8jH9Rf2RhOF0Z0v1D1qfc/kJuaw1FJUtOXPfbaU/JkX7scq37oUWCkeDFTrkKOz5Jn6VAIsUlX24zuRuRdTyZdSkXHIgqQrAqJeY1EccTtNbswDquLgg7Wt84m9tPUm3XGZV+ZSwz6MtDtDIF12UtIpsVMRcAyQCOKN2UFWYEEAbgY2HmBg4ozn1h+wjBaMNpIXnNJcgIPxFZWubgFkfvAQurNWUUzxwIkrmRwO8x3+FzuQBtc7m1zcknFTwxw/DHaaKQTIVtCwsQqEDkV2ZjpAL8yqIDuCWYsAC1xX+Dqcvn+jU9kfqzxun+II8X9VTiSNkb2XUqfcwsf0HFD6QzpoHk6xSQyj/8AnPGx/QDhjwAZ56Os6aHI12vJBI8Fj9ISHTfyAYfZi+puGXMDM7aaksziRTuCbAAkc1NuXS+2KX0f0iM+a0zrdFrna3k9iOXL2cP0cYUAAWAFgPIYTKlvyvLSxdSsshFrSYuI6Vjt6xRvE3vjbX/pgxF9KdV2FXltR9B51v8AXi/6YMOKkn0OSAZWu41SSzMAetnN/f0xZcNcV1NVV1EElMkS0zBXcSl9RYXXQDGtwVs1yRYEbb7JnBPCZr8pogJngEE8zl4zpk9pwAh+ae9z8Om+OWT5ZBmNRmFLHmFUCHXSwmDdsBGqMziw7UBktsR3SvvwAM1Y4k4kpSpBUULupG4IZyLg+FsMfGsmnLaw+FNL/hthToKMwZ7RxNYsmViM25XR7G3ltho48W+V1v8AV5f2GwEGBRiwHuGPRx+Lyx+44x9SWhSxyRNMjOAiB7sADqsNzf38rDzx7rM29ZmVptNhccrWXci5HPc/+XxLqsrWRtRJB8vLHNslS3zh53/6Y1qpT1428jyc9lYrpnPJq9+Cv4aE2JAAAoAHlj0envH6xj8jQKAByAtj9PT3j9Yxmj1l3npaqtQkrW9V/A+mhjG/S9/CKf1dP8SfGyDGN+l7+EU/q6f4k+OjX/jZ4nY/tkPH4MRar5N/qn9Rx9K5d8jH9Rf2Rj5qqvk3+qf1HH0rl3yMf1F/ZGE4XRnS/UPWp9z+QmZzmr1lQI4hcK7JGp21OuzySeCpfkdwDfSTLEQxrwygpGp9TDWO+4tqYm1yeliAF08ggCjYAYskoYxI0oRRIwCs9hqIF7AnmQL4742HmDP0kqKCe1hdz7O/ZT+aHcpLbpud9w6IZVdsrzFaiFJUuFcXFxY/6EeBBIIsQSCDj3W0Mc0ZjlRXRtirC4PwOOyrYWGwGACg9IEd8qrfKnkP2IT/AJYvIH1Ip8QD9oxTcdtbK63+rTf4bYtqFbRIPxV/UMACVwdIEzbOASAO1pzc7C7owHxJIHxxYV/FdTHmcdEtNGyyqZFm7UgBF9ssvZnvA2Fr76l3F9ltckNbW57ArBDJ6qmoi9u7cm3UgA7fqxCqqOCHNaeibMawt2DoZTUDWjuYyiBtPd1CI93ncx+Vwkl+niUGkgZSCUqdJt0Jic2PgbWPxwYovSPw02X5THC0hlvXNIHPtENE57/4173PXn1tgwAOnoc2oJIz/F1UyEe5gf8A9YeREByA+zGf8C1opmzdCL9jWPLbltIAR+zh0d5mhBXRHKRcA94DyPLfzH2HFXJJ2CwpZ2NHEdA38pTzJ+bdv88M/FEHaUNSg+dBIv2owwm8T1+qqyaq5H1hoH8mlUIR7rqcaI6XBB5EWPxxMWpK6BqxiGV+jGtmgilQ02mSNXW8r3sygi/4I72OJX3o6/xpf7V/9nGiej1z9zadW5xKYT74XaM/4eGPCugp8jqLbGMWW/7l9DGPvR1/jS/2r/7OD70df40v9q/+zjZ8GI6CnyD94xn9/cvoYx96Ov8AGl/tX/2cfo9EddcXNLa4/jX8f6HGzYMSqEFwIltfFyTi55PsX0DGN+l7+EU/q6f4k+Nkxjfpe/hFP6un+JPgr/xsnY/tkPH4MR5kurDxBH2jGj03pkZEVfUwdKgX7fwFv5HGd2wWxghVlDQ9ji8BSxTTqXyNI+/U38zH/Ef9nB9+pv5mP+I/7OM3tgti/pMzF+x4Xk/M0j79TfzMf8R/2cH36m/mY/4j/s4ze2C2D0mYfseF5PzHbiP0qvVUk1P6qE7ZDFq7bVbX3eXZC/PxGNiAsMfOeS0va1lLHb2qiK/uVwzf3UOPozGyjNzjdnm9q4alhqyp0+V/iI3AB1Zjm8nQ1Kp/ZqR/nh3MS+A+zGdej3NeyoqmrKlhUV0rc7bEgAknkAVOG6Di6nebswx52DW7rHwBv+m1sWlVhF7reZzN1vNCX6cI+0jo4huXmc2+rE3/ADYMWPGEYnzrLITyVKiRvcY9I/SMGGEHGmo//fMxpydK1dNHMPen4Mnz3JOJ1bU1QmivBeVAyBwLq+oAA8rC3Pc9Tyxx4v8A3PnGWVPzZC9K5+uLx/3yT8MTcweV5BA8zInbOC+w7uhWjW4tzBYb8yOtrYyYlZJq9/ywymyo9ImVmHJwVYNLSyx1Btz1a9z7u+fsxoFLUCRFdTdXUMD5EXH6DhbnyKBo5qYza5Z4Wi7xBIAU2vpHMX5tvsLcscvRXmhmyuEN7cN4HHUGI6QD56NOH0urbl4lJamW8ZUhgzKrQMwBk7VbMwFpQHOwP0y4+GKftG+m/wCe3+uNH9KvDcktbSvCoZplaAgkKNSXkTdtrle1+zC797XMP5Bf7VP+bGWrCpvPd0PV7PxWDWHiq26pLLNfYWu0b6b/AJ7f64O0b6b/AJ7f64Zfva5h/IL/AGqf82D72uYfyC/2qf8ANhe5V7Tf6Xs7nHy+wtdo303/AD2/1wdo303/AD2/1wy/e1zD+QX+1T/mxHzDgSugieWSEBI1Lse0Q2Ci52Db7Dlg3KvaHpWzucfL7FF2jfTf89v9cO3ou4fp6uSp9ZiWbQsWntLtpuZr2ueth9mEjGj+hb5Sr+rD+ufFsPJuebE7Yo06eGcoRSd1okhw+95l/wDM4PzcH3vMv/mcH5uLutqhFE8hBIRSxA52UEm1+u2EJfTTARf1ap384v8AcxubjHU8jSpVq1+jTduV2MX3vMv/AJnB+bg+95l/8zg/Nwvffng/m1T9sX+5g+/PB/Nqn7Yv9zFekhzQ70PF/wBJeTGH73mX/wAzg/Nwfe8y/wDmcH5uF7788H82qfti/wBzB9+eD+bVP2xf7mDpIc0HoeL/AKS8mSv/AExSxZvSrTwRxmOKWdyq256YowfeZJD+Thk4qzL1ehqJr2McTsPfpOn+9bFLwLX+uy1NdpZVkKwRK1rhIQdXskjeaSTkfmjEX0tyl6WGjQ9+sqI4fydQZj7hZftwwxyvezPHCOX1NPlNClOqseyLyBrWPad8A3I375+zEuprZpdFPNAsIdwNfQWN+7bbUbWG/XE6ooDLK6w1BTskCLGpK6WAFiQPaUiw5H9GCjyyqkdPWnTRGwcBbamYezcgAWF8YKilOTtfPua7e4YrJFPRHtuJJ25ilpEj9zSNr/ZJwYPRee2avrOlRVMEPjHF3U/WR8MfmN4kmelbLWlyyR0+UpytQhHQxG5P5hbHX1KGvEFS0mhJ4kIQMAWJFwN+ZGojxw0Twh1KsLqwIIPUEWI+zGbcFM0NNUUbd6XLKgsgPNomJZT8UL/3cKrRUo5q5aLaeRdwT08ExKUz9nG2kzgsbEbNfyF7c/hiFww3qedVtL/F1QFZD4XO0oHmW39y49zZlFGzMk0hBVwKcoRYyXJ1E7Eamv1PLniLxzQyU1NRV6gmWhKdoOrROAsq/q912OM+Glm4r3W+X+jKi4jRxpl7y0jNELzQss8Q8XiOoL+UAyflHFplmYJUQxzRm6SIrqfJgCPjY46U1SsiK6EMrqGUjkQRcH4g4XeGD6rUz0J2UE1FP/RSMdaj+jmLDyV0xtEnTi7NJ4BGYyEjvd5SoZQRbSrg8kNyS1xyChlLA4l5HxGtR3GHZzAXMZN7gGxKGw1KG2OwKnZgDi3ZQRYi4PTCDxTlaUIWoQ3hidWMINmRgLRiN/mRk6QQbaUDKpCEowA5Zvmq00RkffoqggF2PJRcgXPiSABckgAkJmYZrPNl2YCXSyrBJ3gNOlypJjAIuwUEbsFZdgwLEhSBp80KVCAJGWaJbneDSbSNuNMxaxAdCV2VDqQyXvOLKFIcnqo4xZVppAB+Sbkk7kk3JJ3JJOBlo6ows88aN6FvlKv6sP658ZyeeNG9C3ylX9WH9c+Obh+ue4257K+9GhcRfvOo/oZP2Gx80yAjS2oqNIF/mg7WLj6J5E8xselsfS3EX7zqP6GT9hsfOKuAg1EAWHP3eeNGIdreJxdjUulhVjvbvVz5anqKW97izA2ZTzB/869ccaifmASALaiOdzyVfx2/QLk45hDfSh72kaG53U7BG6Xv7BJ/F5EW/YGXYk6QLhFY7j6Ra/OQ238NhyGM26lmdT0ytX/5urJdaXC3Ndr/ADs70qEIAxueu9+vj1tyx7kJt3RdjYKPFibKB72IGPWGr0Y5D6zXiRheOltIfAyG4jHw3f3hfHFacd+Z0MZWWEwzkuCsu/RfU1vhjJRR0cNON+zQAnxbm5+Lkn44Uaqf1rPXcd6PLKdj5GaUE2/MH2rhzz3N0pKaWeT2YkLHztyA8ybAeZwn8CMlFQdvVn8PWu1Q4tdjr3UW8AtjvsCxGOnJqKu3Y+eLNlrlvDsNREsxd+1fvM6tYhjzFuQsdsVmaZpJR5fXzPM8hjBijJY+0e6CATz1Ov2HHTKcmgqJGME0sYHNLWax8GDbr064icXUSTVmX5ZGPwYf1qYfiR306vHW2oe+2MWHhvNSta3FPX87Rs3bIZ+Bcl9Uy6mhIsyxgt9Zu8/95jgxe4MbxIYz/ioCgzamreUNSPVKjwBO8TH4ixPgvnjQMVHFnD611HNTttrXun6LDdD8GA+F8AHf1OGCPUwGmMXBbvFQOQBNzYdBiRUQJPCyMA8ciEEdGVhv9oOEHJc1asy9TOX7akfsauMMQW0GzEi+5IAa/jrHTFklRPOjhHEVOzbSSWUhbABVA2tt0+3njLKr0ct1R7vzkNUd5XucPRpWNAZ8snN5KRrxk/PgY3Qj3XsfC6jpi74vy9ykdTAuqelYyIo5yIRaWL8tOX4yoemKDjqjeMQZpTFZJqQWl0cpYT8oNr8rlh4Asegw6ZVmcdTCk0TakkUMp8j4+BHIjoQcaU75iytreK4xSxzQkSGdbwjfvXF7tYFgqjdrAkWsAWIBouG8h9ZkM0veS/eJ/wDkODvrCkq0SMNhdl1CyEIg1ccw4ejgrVjculPUueydDbs5XOqSE32EcpHaIRYrIG0lSVw+wwqihVAVVAAAFgANgAByAGJIEOWKagqT2aqiOwWNFFoJFUBUSwHcmCKBqsWNye+iaEsuIs8jqcprSmzLTvqQ21LdCRe2xUjcMLgjkThnq6RJUZJFV0YWKsLgjzBwp8R8Ox0+XV7Bndmp5AGc3KrpY6QbXN2JYsbsxN2LEA4GWjqjGTzxo3oW+Uq/qw/rnxnJ540b0LfKVf1Yf1z45uH657jbnsr70aFxF+86j+hk/YbHzHmLgIh2vawBAN7rY8+VvH3Y+nOIv3nUf0Mn7DY+ZhloZ1djcWHd+H6uuNVZpNN9p5/ZtOdWlVpwV97dWtra5+BAjqCEIcalvfTqAJOnYnqQF5dBc+OPyoqG1kuQehPda/dAvtsXAIued9+eL3sVvfSL+NhjnLRqylbAX8B18ffhCrxvodKWxKm7ZTTte2Wve9foeotkULdyQqqAN2JsFAHiTYfHG/cD8M+oUaRGxkbvysOrtbVbyAAUeSjGc+hngks/rkvejjYiAEbM/JnHku6jz1HoMajxRxDHQUslRJyQbLfdmPsqPMn7Bc9MaaVPdu+ZydpY54hxhayjwvfPj9hU42f7oV9PlibxqRUVdvoKe4h+sSNvNDhnyqmPb1EkiW7wVGI20AWAXwHU+/Cvwhlk8Eet7ev17GaVmHySDktvxQ1gvQkjkBiwrsvnpHWYzNNGWCyBr8mNjdSSCN/gbYXVqWadrpanNiveTezjXMNUVlCxsZiNlHhfoDtc+6+Kb0cIauerzNwbVD9lBfpDGbC31mG/mpx54/cRQR5dRgLNXP2e3NY/4126207e7Vblh0yrLUpoI4YxZI1CL7gLb+Z5nzw2nDdTvxdysncl4MGDDSoYMGDABnnFCfczMkrgP3LVWgqx0VuUchHh0Px6ti6rcsWorlRz+CSIMijYNvba3Txt0Axe5vlUdVBJBKNUcilWHv6jwINiD0IGEfg57O2VV/empheCS5Uyw/NKkG91GxF+QtvpOFVae+i8ZWGESRJWpDAqi6sJVUd2wF1uBtqBB+DW64XMok+4tf6o5tQ1bFqZjyikPtRE9ATy+HixDtl+Sw012RQptuxJJtz5k7DFXxZT01YnqU5+WXUjC3cYewwP0jvbxsR1xWH/AJr17K7B56Fxm+VR1ULwyi6OLHoR1BU9GBAIPQgHFTw5m8iuaOra9RGLo/IVEXISL+OOTr0bfkwxV8EcSSpK2XV5/dUQ/BueVRGOTqTzYAb9dieYazDxDw+tWi94xyxnXDMvtRP4jxUjZlOzC4Pk8oWuKLjv+DKz+ryfsHBw/wAQtIzU9Soiq4xd0HsyLyEsJPtRn7VOx8zjv+DKz+ryfsHAy0dUYIeeNG9C3ylX9WH9c+M5PPGjehb5Sr+rD+ufHNw/XPcbc9lfejQuIv3nUf0Mn7DY+c4fZHuH6sfRnEX7zqP6GT9hsfOcPsj3D9WHYrgc39O61PD5nvFvwnws+Y1HZC6wpYzSDoDyRT/KN+gXPgDHyDIJq6fsYNrWMkhF1iU9T4sfmr18gCcbzkGQRUUCwwiyruSd2Zj7TMerE9fhyAGKUKN/WkaNr7TVNOhSefF8uzv+HeS6WmSGNURQiIoVVGwUAWAHkBjOfW1zatNS5/8AbqBvwfhPMPnAfOVdreNx9JgJnF2bSZhUHK6JiB/8ycco06xg9XbkR8PpabIZbAaUJSymKOk9kKLi676j1Yk3OrqbnfGupPdWWp5GKuTMorY6mYO+qOeMMvZk27pJ6EXJsRfz6csdc0jdmZqgpHTQ/hSb+3pBPe8FW1yOv6uMmW+u0scpGifTdXHd3HjbfSeflfbC1xGXr6iPKYpHZEtJXTX303uIwejMbbdNudmwinFyVpaa3596Lt20JXAFM1bUzZrMpHa/gqVT8yFTz8i5/wD10bD9jnT06xoqIAqqAqqOQAFgB5ADHTGsUGDBgwAGDBgwAGFXjzhV6pEnpjorKY64X8fFG8VblvtfyJu1YMAC7wrxLHmdISy6XF454TcNG/Jgetudj/mCBAqaaElqejRZJHADyElgii3zjexFhYDlYdQMReL8ilpKj7p0C6pALVMA5TxjmQB/GKP1dbENNoM8h9SNVQKHWU3PL8GbAEMOYCnpyF7+yb4zV4pq704vjbsGQZw4n4cSrSOBp9NdCO0gnA0srdAbG5vYXHPYMOWO3BvGbTO1HWqIa6L2l5LKB8+PoQRuQPeNuUPKcxSCVw6ConZhpdGDBielz7O/Uf5DEvibh5K8IJbUtWnep5EcF1I8xYlb8x9hviKFZSVn8/e+YTjYu8/4eSrRblo5YzqimTZ4m8VPUHkVOzDY4VOJOInShqqWuCx1Bp5OzddoagBDvGT7MlucR3HTUN8SeHON5I5hRZoohquSScoqgcgUOwDHw236A90Nea5RFVRNFPGskbc1b9BB5gjoRuMaiidmfOZxo3oW+Uq/qw/rnxTcV+jOejvJT6qiDnYC80Y8wPlFHiO94g88SPRVxDBTCrkmkVVIhC9WZrz91FHeZ/xQCcYaVOUKmZ6zaOOo4rBt03ndXXFGp8Q/vOo/oZP2GxhPCXCk+YsFh7kS2Ek5F1XYXVPpyeXIdfA60aOpzL5cPSUh/iQbVEw/+1lP4JCPmKdR6kcsMtHRpDGscaqiILKqiygeQGNUqak1fgeew+MqYeMo08nK2fK19PMiZBw/DRQCGBdKjck7szHmznqx8fgLAAYWOLeLJZZvufltmqWH4WX5lMvUsR8/wHTbrYY4ZzxhNXytR5SRttPWfxcQ6iM/OfzHw6sszJ8vTLIhHTUzzxuNUk9wzSsebHTe43POw328TM5qCuzKk2zrkuRNQU6xUCxy7kyyO3ekfkxO43uPHbYeZ50WZTxTzn1UszaC6o3smxsdgb6r3x64cz+ngEiMWjBkLKrKdhYCxtexFrY7cRZ3Fl3aVjszGZVSKECzSPbYAEXvy6bAnmSBjGr1bSjLO+emWozq3TR44v4yemgjjijvXVPdhhvqIJ+c3IaVG56X25AkTuCuFBQU+kt2k0h7SeU7mSQ8zc72F7D4nmTit4J4WlEj19fZqyYez0gTpGngbc/s37xZyxuQkMGDBiQDBgwYADBgwYADBgwYADGe5/kE2WzvXZemuJ96qkHJx1eMdHG5IHnzBIxoWDAAp8PVFLJTvWUgWVCNSJpXXGwB1LfmDuNug5XBGJ2YTQtDHJLEHWQLrkCjuAjY39ob7bcv10WfcITUs7V2VWEjbz0x2jnHUgclk5/HwudX7w7U02ZRuIZZ4GBPbUpNjG1+8NJHs36jbyB2GadNpWgsuX5+chilfUlJl1PmFA0dZpdEdkWRjZha2llY8msRv163vimps6q8oAFQWrsv5LUp3pYR4Sge0o+lf48lxb5llSlDT04JeAiWzb9pqvfa1iR3fLe2OmUydqVlp1Ebagk8Vu4Qfnaelt/0g+a6daUbQf5z8vuWcU8xiyrN4aqISwSLIh5Mp/QeoPkdxjlFw7TLUNULBEJ2FjIFGo/HxPU8ztfkMLGaejfs5TUZXMaOc7sg3gk8nTkPeAQPC++Iv/qTOZP3OtBHHP8AOqGe9OB0ZRzJ/FuSOo6Y2iRvz7iOnoYjLUyLGvS/Nj4Ko3Y+7CWYq3PPbD0WXn5vKeoHn9BCPh9bmLbIvRxGkoqa2Rq2q565PYTyjj5KAeXh0AxMqq+qFRN2KiREKqUJsR3Abry8fP3YXUqKFrotFXIQljpIWpvU3iprFQV3+LEbFid7licT+Fc3hFNHGZVDgWIJsd2NgL8+fTAmdGrpp0VCkwUqUJ3322vbzG/LFRn2f09B2SLAk+YMoCQxC7are0xA7q7cyL87bXIzQ3pT34u6txXb9hjslZok5pnEWWU7yVYV2aZ2hjADSOS1wF872N+lx1sMRuFOFpp5/ujmQvUH5GH5tOvTb+U8+nv5d+F+CZO29dzFxNWEd0D5OnHRYxyuL+177X3ZnPGuMVFWQpu4YMGDFiAwYMGAAwYMGAAwYMGAAwYMGAAwYMGAAwq8VcBpVOKiBzTViexOnM26SD56228bbbjYtWDABm6cVskqU+bqaSoXaKrjNoZPGzHZb9VO3jp5YdsmyhYQ7BzI0h1M5tvzta21tyfjiRmeVRVMRinjWRG5qwuPf5EeI3GEc8K12VnVlknrFPzNHO26/wBDIeXuNvPUcU6OO9vWzLXdrDZxLxLFQRLLPcRl1RmAvp1XsbDcgEC9t7ePLGf0fFdMmaSzPmhajESyRp27MpkcsGXSLs2nQW0fjri9pOMaHMitPVoYZkcMaapGm7Le1tXdcXNwOZsNsFLldV91JpJaaL1KSJYQpdCVWMsVZk5WJd7joGHO29yo0cP52lZTpPGCEkuVvzsGZQSOl9N7dL45VEDQ1Bn1xrCyfhtZtbRyYHkNjbfbb3YWJeOqWkAo8tiarlW+mKDdEuxJ1SbqqgseV7cjbHiHgaqzBhLm810ButHCSsS+HaMDdz8fyrbYrKKkSnY41HFstdLJDksY7xtNWuto16dy477W5fqsdWGThPgiGgDMC0s8m8s8m8jk89z7K36e65J3xeUlIkSKkaKiKLKqgAAeQGwx2xKViAwYMGJAMGDBgAMGDBgAMGDBgAMGDBgAMGDBgAMGDBgAMGDBgAMGDBgAqs/4Xpq1NFTCkg6EizL9Vh3h8DjN6Tg1ZMxky6SprHpIkEixGbY3+abD2B0HTBgwAadk+RwUkfZ08SRJ4KOfmx5sfMknE/BgwAGDBgwAGDBgwAGDBgwAGDBgwAGDBgwAf//Z"/>
          <p:cNvSpPr>
            <a:spLocks noChangeAspect="1" noChangeArrowheads="1"/>
          </p:cNvSpPr>
          <p:nvPr/>
        </p:nvSpPr>
        <p:spPr bwMode="auto">
          <a:xfrm>
            <a:off x="63500" y="-4159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AutoShape 2" descr="data:image/jpeg;base64,/9j/4AAQSkZJRgABAQAAAQABAAD/2wCEAAkGBggGERUIBwgQFBQWFhYZGRcWGBoXFBcYFB4cFRwdGhYgJzIgGBolGhkZITIiLykqLCwsFh8xOzIqNTI3LCsBCQoKDgwNGQ8PGTUkHiQsMzQzMzUzLzQ1NSo1LjU0NTU1NCk0NSwxNTE1LC41MjUsKTIpNTE1NS0sNC0wLC00Nv/AABEIAN0A5AMBIgACEQEDEQH/xAAbAAEAAgMBAQAAAAAAAAAAAAAAAwQCBQYBB//EADwQAAICAgECAwUHBAACCwAAAAECAAMEEQUSIQYTMRQVIkFRMlNUYZGS0SNCcYEzchYkQ1JkgoOhweHw/8QAGgEBAAIDAQAAAAAAAAAAAAAAAAIEAwUGAf/EACgRAQACAQQBAgUFAAAAAAAAAAABAhEDBCExQRJhIoHB4fATMlFxof/aAAwDAQACEQMRAD8A+4xEQEREBERAREQEREBERAREQEREBERAREQEREBERAREQEREBERAREQEREBERAREQEREBERAREQEREBERAREQEREBERAREQEREBERAREQEREBERAREQEREBERAREQEREBERAREQEREBERAREQEREBERAREQEREBERAREQEREBERATC21KR12MAPz/wD3rMMrKTEU22H/AOzOZfPfLK8s2X01VjrJIYBdgjpK/wBwOxoDux1vtoGFrYWdDbzq8+Pr/HzdJj52PldqrO/fsdg9ux7H17yxPn3C51/L0kYrKllVjv5YXo2GPZiB9oeoOjsH/RHVcFzQ5EGu0EMp1sjWyP8A23rv+Y7yNNSLLG62NtHOPHbbxETK1xERAREQEREBERAREQEREBERAREQEREBERAREQEREDmPELnkrRgKQV79QI2pHbe+413I799BG7TT8vbkZY8vE62pXpZWr09TdPUVZn0dkv09vQa7jW5JzliY9eZmVX7cVOCOkjo3tfX0P/E3/qcfj4/h6lcfMwmsNttlY8nrBWoh12W0dkdm6QfqN+nehqX5dhsttE6cTzxxHGecZme4x7T1/jfYtvIdZyKfMDJ5v/C6bNeazO3VofJyvw+v0GtzfZmXdSteUbAgVup1VgURm7Heu59VOt9tsO/y1nCC4ZPItiUB7Pak0CoYH7ewxP2F1/d8vofQ73LR8mgNlsyMU2x6CpQqxHZAf7es6799A95OkfCr7q1f1YiYjx/fNc/Wfn15dDRaL1Fg+YBkko8NYllQNTll76Y+pDfECfz00vS3E5hzWpX02mCIieoEREBERAREQEREBERAREQEREBERAREQEREBERA47OvyLLbeNtVGHlt5auB0se50w/uXqFf07NOcvbleO3c3BcMpQBuy/H6FwV79+yk7H/dP0nbc9gX9a5eEE6iQrbC7IPyDnumzruPmo9ZqOQTDyaL8s2t1Cq3oYEhVHSwKdJHZGOz3+eh2KiU705dNtNxWK1xWJicZ7768Y7+/s5nyMOxU5XKzc9LcsG1lxiAgPUV9Cd62fnvW/WbHg8uiim3kOMzsuzbKinIIbTL8R6e5Gtsn+SRNZXXyN9XH08WibbHcOzqGVK/M+Itv0U+h+vp89HpuJ4yqwpgYQIrpOge2yw+JmI9VYMQf9hf84tOJmePycNlur1rpzFp8zxx+2LTGOvaIjnrLq+K6zUHu+02yfp3+n5a1LkxRFrARR2A0P8AUymwjiHE3t6rTJERPUSIiAiIgIiICIiAiIgIiICIiAiIgIiICJWPJ4Q7HLq/ev8AM8954X4yr96/zAtRKvvPC/GVfvX+Y954X4yr96/zAsWVraCjqCD2InM5Xh+/CsFmFaBWzEuCC3Z9dRI+uhr06dE7Hzm+954X4yr96/zHvPC/GVfvX+ZG1Ysz6OvfRn4epc1j4D5aLj8fV5ahjtQAAArbHzI0R1dvlv4QPn0fG8bVxqCuv6Ab/IdgP8CZDksEemXV+9f5j3nhfjKv3r/M8rSIT1t1bVj0+FqJV954X4yr96/zHvPC/GVfvX+ZNVWolX3nhfjKv3r/ADHvPC/GVfvX+YFqJhVdXeOupww+oII/WZwEREBERAREQEREBERAREQEREBERA4W/mnoLVe5Mh2XJcFlwi1ZpWwj4WH2j0AfF9flMOR5V2xuQ5DFwHp8igWVC/GWs9So7NoMPjQlVH695tORu8UYbqqZuB02XlEDU2M6qetl6mFgDEBQPQesj5zj+fy8DNw8+/Gte2lq6hUppUF1ZfiLufmR36vQen1CbhMXGy0sdeSovPQh+GujqqYgnv0jR320CP7TNJ4azsvJHHXZAouGZSzWp5KK1WqzYLFKj7HVpCDvu69/kei4vPYows44VEVKNmyks7AEdI6WI0PqSPtSHwLipw+Dj4ubXVXclSVvpkJJrHT9pT3H0gUOJyMm7Gz8kYlV1tF+UlKeUi9Xkj4FOgNknt/uYYvK8di4NniVcpMukVAhfKqRhaOxX4VHSSxVeltlfqZY8PnO4irMf2ZPMfKvurQ21/1EsIIHUG0raB9e29Snb4YxubfOawey1ZdNaFOtC5uQs3nFVYqGG0Hrtugk6+YbVvDPI3VGw8hUl5XfSlFJoVtemmUuyg9t9QJ/KQ1k8tkvxGNXTV7PXU19i1ozmy4EqiBgVUBVLEkH7Sga7mZ4viDm8SryM7iltuUa8yq6kUWEDsx62D17PcjpOu+tyJ8fL4bMbmsIVXLkV1JkVLYqutlIIWyvrIVh0kqVJB7Agn0gef1OIzauHz1qtryVs8m3yq1tSyodbI4A6GBTbA6H2SCD6zUeGuRzcqvjsvIOPd7WbFsr8mtWQKtjeahXuFUoqkHY/qDuD69B5T8tl1ctmqtaYy2eVWXQ2vZaArM2iVUBNqB1HfWSdaEr+CMZuA4+unLxaxkVoylQ9RZ9MWUCzetdx6kagYpytPvP3W+DT7OytWjdC7OTUFudd69PKca/Op5Yz1FPJY3H111CqynIdl8tDtqjWF02tgf1Dv8AwJpsjwu3sVeZj9HvGuxcnvaOlry/XYu+roCsGdN/QibLk7sts/E5WjB6kSi9LALaQytcayBovpteX30fmPWB1tVVdA6KkCj6AaH6TOVeNybcysXX0hCd/D1B9DZA2y9ida3okbPzlqAiIgIiICIiAiIgIiICIiAiIgIiIHIV+F6edZ8s8tyiayLukC7pQMjshKKN6XfUB+XynnOce3hbAzMyjPuvdafMAyWFwBqDEDRHZSdyjVw/hC5rbuWWh7GuuYsGt7h3Zl2O2mAIBHp2nvJYHhpMPK4zgsimpsmsoSxsK7IK7PqewJ/zAtc5Xb4XReUupxr8cMguU0IlqI5CdaMvZuksCVI7jeiPnBm8rRxNvIG/Ax3THGKKk8tFLPkjpVWfXobCo3rsCfWS5/J0c+i4PJ5uLXTtDYK2ssazoIfoBKL0KSo2e5I2O29yrmUcXylmeM3lKhXlrQFKFvMragfC3ddbDaYf8sC9znH5fA4z8uExrjSpstq8hERkT4nFbD4lYKCRstvWj67ElBx/EF9mJxtFFVdSVMz+UjWO16+YqqCOlVCdJJIJJYDtrvTy+Vs5nHPE8pymIEdSlttXmddlZ7MFqK6rZl2N9TdO+25ldlYfHZJ5TgeTx/6iVpbTb1itvK2EdHUEo4U9PoQQB6a3AeJcfI8NYV+Y/srsj1eW5oQaR2RGDqOxI6mOxr5dvrlyF2LgYb5+O2Peq3KHtShCaqtqLG6F+0UBY/kO+jrRh57kT4gw7sK7kcRLHesoAbGRFrZLO7dIZmJU/IAbH+758Uv09a5WCH8wbTqs6Wr6dHdnRsP1d/skaUD84FHnbauLxaMvHyMR1tyaU87yayppvbW+3w7APqOx16ToOLwuNsoGQ/s1w+M+YtaKpCk/IduwGj/iclZjYdOLViYHI4oZM0ZXSetalAsN3lppdhe+t6HzOh6Tp8LxNgNWV5DLxwxLfDX1Feknt3IBJ16nQ7mBr+LwL/EOMvL4oxqfNUWVVmhHQI3xJ5p+0xK6J6Sut6G9bOst5rHzKcHMGPjYwvutpuDVI4R6Uu6grEfe09IPzDSzw/It4eq91YPKYllKdqXs8wWVpv4VdAurekdgQybAG/rMVXjMH2GnA5Oori3WWObCwexrUsRj2XXUWuZz6D5QOt4NUWhDXfVYCNh61CI4buGCjsNjUvyDCysfMQW4bgp3AI9O3aTwEREBERAREQEREBERAREQEREBERA4TB8W5vD5Vy8228OzKsqqu/D2LoCu0/KtvVW+R2D8tb3CN3vHJpbIsKDHxnVCxKK1jXqxA+WxWn+NH6yjxFGLcmZhc2lPl3ZFrBWsrYNXYFHcA/Cdg9vl2kHhLjX8PZF65XL1W0+VRXQzOvmiutrm6LDv4ivmABvmNfMQKfhvkKsnIux8/n8gWJn211VmzsyJpghGviGur8/zm1N+Vx3LrjXZVhpyMZ2rRm2q3UsvWAPzrZTr5dLamu8O5WZxL5Fd2DWRdm2XK/n0lVrsKjbDq6uoBSdAH5d5d8b4C88lLcbyNKW13A9fWuxVarUXa7+vluxH5qIEXh7xddkW5fvVwtXljKxz/wCF+Ksn/O6+v/1hNz4VxctMOv3lkWtbYvW5ZiWU2fF0g/LpBC/+XfrNH4p4LF5R8RuNzKEWsmm0dagHEsA60Hf61oB/zGdZ7zwvxlX71/mByNHN53h1r+AzLnuvY9WGzn4rkuPSAxHzqbfWR/YA2pZpOW2SnhhOTvIqx1uvuJHnWl2KIoP/AGYJV2OhsAKAR3My5v8A6zyODyGO1TV0jJDt5tYI85VVdKTs/ZO//mY81U+LmJ4i4XIosbyvJupa1UNlfV1qyMewsViex7EMRsQMfENuV4NanksTMusoa6qm6q1zZpbj0LZW7fErKxGxsgg+gPeV8+yyzMz6becvoWqiiysiwBa2cWlm6D2YfAvY7Hr9Zb5J/wDpS1VOYK6KK7UtcPbW1ljVHqRAEYqqdeiSTv4dAd9inkcJgczm5j8vTQ1F9NFaP5lZdTV19RXv1IdupBHzTcDce1cjkcT7Zn9VWQcTrfp+Fkt8vrOh/aQ3y/1NT4Tzsrxhj4z0chYKa0r821X/AKt9/QOtN/2VqzHZ7EkADQG2loyuT9jv4nkraLrBVYld4trAvDKVQupO67O46vUbBIPymu47isnga8fkuGux1yBTTXlY7WqK8jylCdQcEhbRrs2u47GB9EA12iQYeSMxBcF1v5bVtH6bUkH9ZPAREQEREBERAREQEREBERAREQERECP2en7pf0EezU/cr+gkkQI/ZqfuV/QR7NT9yv6CSRAj9mp+5X9BHs1P3K/oJJECP2an7lf0EezU/cr+gkkQI/ZqfuV/QR7NT9yv6CSRAj9mp+5X9BHs1P3K/oJJEDxUVOyKAPynsRAREQEREBERAREQEREBERAREQEREBERAREQEREBERAREQEREBERAREQEREBERAREQEREBERAREQEREBERAREQEREBERAREQEREBERAREQEREBERAREQEREBERAREQEREBERAREQEREBERAREQEREBERAREQEREBERAREQP/2Q=="/>
          <p:cNvSpPr>
            <a:spLocks noChangeAspect="1" noChangeArrowheads="1"/>
          </p:cNvSpPr>
          <p:nvPr/>
        </p:nvSpPr>
        <p:spPr bwMode="auto">
          <a:xfrm>
            <a:off x="215900" y="-263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AutoShape 2" descr="data:image/jpeg;base64,/9j/4AAQSkZJRgABAQAAAQABAAD/2wCEAAkGBhQSEBUUExMVFRUWGBgVFxcXGB4eHBodGRgcFhwYGB0YHSYeGhwjHBsYIDAgIycpLCwsGiAxNTAqNSYrLCoBCQoKDgwOGg8PGi0kHyQpLC8sLCwsMCwsKiwsLCwsLCwsLCwsLCwsLCwsLCwsLCwsLCwsLCwsLCwsLCksLCksLP/AABEIAOoAtAMBIgACEQEDEQH/xAAcAAACAgMBAQAAAAAAAAAAAAAFBgMEAAIHAQj/xABMEAACAQIEAwQECgYIBgAHAAABAhEDIQAEEjEFIkEGE1FhBzJxgRQWI0JUkZOh0dIkM1JiscEVNHJ0gpKz4SVDU2Oy8Bc1c4OiwvH/xAAZAQADAQEBAAAAAAAAAAAAAAABAgMABAX/xAAtEQACAgEDAgQGAgMBAAAAAAAAAQIRIQMSMUFRBBMiMmFxgaGx8EKRI1LBFP/aAAwDAQACEQMRAD8AY+z3Z7LNk8szZbLkmhRYk0aZJJpKSSStyTN8X/i1lPomW+wp/lxnZWtryGVaCPkKIgx82mqyItBjBOMerCKpYORt2C/i1lPomW+wp/lx58Wsr9Fy32FP8uCkY8jD7Y9jWwX8Wsr9Fy32FP8ALjPi1lfouW+wp/lwUjGMkbgjAqPY2QX8Wsr9Fy/2FP8ALjz4tZX6LlvsKf5cFIxkYO2PY1gv4tZX6Llvsaf5cZ8Wsr9Fy/2NP8uCcYyMbbHsCwX8Wsr9Fy/2NP8ALjPi3lfouW+wp/lwUjHkYO2PYNgz4t5X6Llvsaf5cZ8Wsr9Fy/2NP8uCZGMjG2x7Gtgv4t5X6Ll/saf5cZ8W8r9Fy/2NP8uCcYyMHbHsa2DPi3lfouX+xp/lx58W8r9Fy/2NP8uCeMjG2x7Gtgz4t5X6Ll/saf5cZ8W8r9Fy/wBjT/LgnjyMbbHsa2DPi3lfouX+xp/lxnxbyv0XL/Y0/wAuCcYyMbbHsCzjnpU4fTpZumKdOmgNBSQiKonvKgmFAEwBfyxmLHpe/rtL/wCgv+rVxmPM1fezpjwdP7JZZU4flVUQvcUmje7oHY38WJOCsYodmR+g5X+70P8ASXBGMd0XhEHyaxjw/cBJnoBck+UYkjA3PZqjUy9VGJ+UZ8vTBU87KpZjH7A21G3juJXU1Vpq2GMNzomzdGTlm1crVUbSCOZT6pbrptI6GRO2DGaoqVJUXMREmbmfbthBfPKmZotUDPVdqaoKcFytPlCIpMCn46juWOHhuLKAQ9GvT9tEkL7CmoR9WPKes3LczrUKVI1y2VBVtR5g5tGywIkG+83xHnqOgTBPKzWFzp8jsTtiajxagzQtakDEQWKnys0YuGgH+aHEWM2HiOW8GcPDXknd2K4LgHtkWgW3Cn6/v8sQaObT1JIA9m4wao9BBEct/AdJ8B44p1MmVqd4WUwXaCvRgZAIJ6eWLR8TJJ2K9NMovSI3BGNcEM+vKCBadwImxn+HXFGMdulqOcbZCcdrwaxjzG0Y8jFbEPIxkY9xkYNmPIx5GNsYcazGsY8jG0YzGsxrGMjG0YyMazHIfTAP02l/d1/1auPcZ6Yf67S/u6/6tXGY8zU97OmPB0LsRnmbK0E0HQtCiuoSQG7sMSxO07R0wzRhU7A5WoMtReQKRo092glhTW+kDYbcxvvhtjHRotuCsgyhns+aTodIZStQxMFnEaEHQAmSSeg8rqXGuK6CSAj160stO5CzDM3MeWmCDMxqsemC/bTiwo92qjXWZX0UwehjnqdQgN/PTgLwLs7rWtXrlnOjWSLtVvYkDakP2esXjbHDru5u+Dq0/aUuCcOZm752LSyTUM/KQw+TQbiiB0Eaova2OuVKKzIH7XqyJn2bkYRswx0QQQfC0gAgqF6AW9kTh6qsGmSDe94iDiKabHaI2CvIaWAizDVvbZgbYrjs9Sa4poPNQUP10yP4YsNmzflZjMQCBfwliBP7on3YlyWdUgxIIIDKRBXw1A7fwPTBw3kGVwUH4YVJAq10Ef8AU1j2RUU9PPEOdWulMgVFqSpsaYVtOxIdSROmbab+WDNarcxtF+ke3FLO5xVpl9Q0alDEEEaSdBNugm8eGNSNYLpUKlJdLKKoZ9RqLUAMEkqzIw6KQDpJJxJpwTr5ciiObUBBnwHQCLQPHwwPIx3+GxGiGrlkcY8jG8YyMddkSOMZGN4xkYNmNIxkY3jHkY1mNIxkY3jGRjWajSMZGN4xkYFmo496Yh+m0v7uv+rVxmNvTJ/XqX93X/Vq48x5+p7mdEeBm7HOTRoJVqKtEpRJXQynUEWOYEgggxNvvw/Us6rsQDfzET7Jxz3s3C08qaCoIp0ZVdWos1NZqNqJQtqkgQOk4c+CZBw9V6tMhiwKszAsSAQTA9QwYtaBGN4eV2o8J/8ACTRW45wekay1dA1kHUVA1MVK6CxiTGw6C2Pcuj6ig5TVUibHUsQYtG/nOCWfoFqlEDqXBNrCFO+/u6+7AX0ejTWr0RGim4ekPDmNOpHtIDHzvjn17c2jqh7cgngrVK1CvQ1O7UGRqTFpbSxKVAWY+qGAaOnTHSWX1ASIJQkT432PQsMc17JtozjqX0AJV1AzDS/KIAM6S0xjofDq4c8yk8wCll0+qLFQb/O/jhFVjSsD5vNB+8IBdRRrMhWDdX0wokNqgEzsSTcm2CmXO7bvSAv1emYJU+JG484PU4EvRqNVamAaChpFTQCKiySwcBYCltUBTOoAkEMMX+zWZWozkI1NmnUrbyAEJImFPKJXpbxBKRechawWeJ1tGkEiSVF4gam0zBsx+vy64A8brIabKSqO5ZDpt3kVNIJXxEG+/wDDBHjOmnVQVHLsyKEQwNbUmLz4ILgM5gCVjCtxDNg1XsSoBJVFm5J1RGzFiZjrjN5Mlgn4D2qbKtoca8rsCoLGlG5/ep9T4dJw4ZjLgqKlKHpkauU9D1XoRjnvdgwTBUk2YglDNrWU2nYwJI3xZ4F2jbIGNLtlix1KZ1IWMgqGuJ8DAaeW+9YTfcWUBzKLJBLAi+0iPGR0xsMlOzKfuxJ3C1E77LtqVxJgmCPIdDO62xSIIMbewnp1Fp+rF1rTXUlsROci4+bPsviNqRG4I9oxqMwwJAYaokDVBP8AZbY+zriSlxNp0yCet5g+68e3DrxEuovlo00Y80Ys1M9Hrqtt/wD2+PaWbpsCQpgGLeyZ3Nhh14j4A8sqFcZpxdLUj86J2nr7PHGfBvAg4Za8QbCjGMxbOVPhPsv/AAxGaeKLUTA4s4v6ZP69S/u6/wCrVxmN/TQsZ6l/d1/1auMxyTfqZWPA09nUbL5fLVFmkrUqTEmkNLFqKjUDsWtIbDfwnineQrXbaR4gEnX1QyLA79NsCuyfC2qZDLMWkGhRKKYOkoixpBFp5gw6wvmcMuVpgCQEDG7lFgMRafEi0SfDDaensdp4fQkR1GC18uzQBqdNR6M6gIP8UNfxA8cKXZ3LD+l3U/8ALaqQZ66xI+psOOaqQAARd6c+Iiov8ZOAORoaeLPF9RqN9ZpnHNqO5ujpgvSC+BU9HE646sK5+tlaL+wYdMobreYMn3acI/A80G4k7G4fv/qJOm/TYYc8ty+2TMjcQN772xLhodizwzu/h2bRVoKxXM6u7qkOeaedLaT11jY9cE+wbkqCRVHMQO8rd7Y0wbNqa1ticV8gr/0pXBFXQe9A1d2adwDaB3njY23xS7I50ZekxCXNWkoBy4oTKMCYUkPA6iOmMuQy4DPax2GZUhuVaJdl7sGdLFRpqTKGXuLyJthXzFWHUk6gDpJYGw8yNhABBjfeMMvbPPfK6FPzQrwJMMZiZAHTr1wsZrOJTp6np2TSpRGEtqPIqTtUJEdAOa+EfuYVxktNSMEFi/VdjI8jfoJm8ezFbMKASQGhjHMQNUj1UnnqN58u2+LmU7vNNppd5TeC3cVFVHPiabodFQjeDte18eVaOlelzDWZSSItA5mYdfZfA3U6Y1dUV+BcSrZOpqQK1FgGqUgYv1ZRJh95aSG6xvh6mnm6QrZdwQ3lNx0KmyuPPCT3fnfroAWfEixM36Yr5DN1so3fUFkH9bS0wGA8hsfAifMkYrGfcnKPVDfoK6vWiNoAZT7IsPIY3C7m2lumoTfrM3+vFrIZyjnqXe0rPEEGzKf2XA/iPccVn4explyEebjmLACLmdj4dcUEI6dUBYkreJax9m1h92PGSD4z4tY+w+zpj0tfSJGlRO8AHodXTy+rGlUqpIg2PT1WHiCRIH1jGMSa72PMNhyiY++fKPPGVCTzCE2kyT7tvvE4j72JaCNREyAw8iCmw6bRjeZG58ioEfh06C+MYkp5wgmSSqj2kz12m334spnnj9rw1C58j4HFJK42UgFZkMJ9vs9mK65eSGiRfmBgsOkTYxtGCCjlvpozIbPUiBH6OosP+7VxmI/TJTAz1KI/q63AAn5WreASMZggCfZLtxUWmlNGUwlJVaowFFAtJaZB0hnBm0zE9ADhl7KdvDUzBy1SmOV2Q1dLLEKxGoGQDI0gWG95tjh9FjUplShDKoZyVJGgAKDKjkWCkkjfSZ3x2LgsVAtQLUD90od3oqJE3Zj842FtrzGOfU8RLQysrt+5JOKQ+164MRca6dxt66feMC0txceYb+A/DEnDCHy80ySpqGPtAT7bz0wA7T9qEy+ddqJFaskqEH6tCZE1nHUdEWWPXTgRnv8AVXJ0xWDOyeQds/KqdCd+GaLesV0+BN//AG2HTOaKKamZlGqJ0FvmwJFOSPacc+7ICq2dL5hy7NQcgeqgBZWhEU6VWZPjNyScPmXphbABRzWU9beBvbr4YLfcNZB1Bsj8LOaXNUFqMSTq0qYICkS0NsMU6fA6NGke7rUqmqpSjQ8ncqQJdhdW6RthmqmfG42JMe7p54BccSiGpnQsoGfUKY1BmBp0wCBPVj7sI7WX+/ca08AfO5o1qj1Aw9c2L6lX9mFA6wsi58xir2gymnLJVMhtUUlNwC8jX7VUE+weeJMijEqonmaCdOmNzpUMJC2Jj3jBPtTlgUpfusWK+CxoLeYBKj/FhYcoZ9hMy/Dmo6irGVOr3i+rx1GZnxw4VcwmYy4zBJVwRRrlbEMI0VLcwBsCBvIEGMBq6QXUi5USP8IB/iDi72Vb9Jaiw5M0roQf20ll2/dnHVqw3RwShKnk9azm4uYGm8HaI0kCbDr7AcVKZBjm0ajAGt5JNpCbKDG5J33GCDVCnNqblRxoCjmg+r05rQALe/GlWsiISwKqwBUNYmR1S4Rg0zvbHKs8FngoVqCkLLP3bWZUOk1DclGKmIkSQPPDd2dzTvk2QqiKiaUCmwA2HTbyxz2rnA9ZAwI0sLKsAGIWSDE+zDDTzrJScDwZrMAQQJ+cIP13x2Rh6c8nM5W8DHQMQt4NmHWPC+Iy8MIUwNiu4nwB39gOE/hnpH1UGq1qZpCm6JOztqBIIUxA8fbi1l/SLlXIYVSCIEFPDb1SfrwLCrq2hpp0DfTq3tOk+4jcYgdIEOFBPQEGSNrG49xxQyvavLM4cVkU9bXJ8ZZRH8MWKHEFYctam3UeqV85vIPuxrNZaZCYsY2k6tQ8jF/rxh2tqJXZRFr7GJJB6E7Y1ZUY/MLNcwjaSfbqAHuON2Yn1nLoYXpIbeNQP3k4xsHI/TFmC2epE6v1C7n/ALtXYDbGY89MJ/TqU6rUFF97Vasb4zDAAvYujUruwOZak/csNdSI7tSgCCQdSlNVtrDwww5bjOp6jUaffBeVtdRkSp6qK1SmTppOLxo5TqEgdCGRyoovw+olJtHwWmzwOYQAZY7FGYzebSehxE9XLZerUqvTWhTdDT3qNJIZg6MJVgWJUEAafEDHBqNtu49OPqTxyNfFeCZjL5TLZajW009Omu4Y62qNzNNXcU2vGkA2iRtitwrs+lIWA5OsEBSLnSoFzYm+8HDPnGPwWm0EylEed0Hh1k74CLmnNQijUANJVqZimQWqFFqSqIW+SGoTqPrdLWxtzto7lkp9mq2riBMRK1bA2tFyfAx9+HZvm26n/wAen1YR+zrf8SsBE197ATqIA8PZh4qiCBb1jPgZUm2KskSoSbTuYv5YVO0GdBrESeY6V5NQmCihgoJgKJNh6xM4ZnaLA3ifZqhZv5mcJtSuxcjfmbl8T00HlBNoAkz1xOT6DxRf4HQnNSfmUi0BWEFiKYHMeYeuQY2xf4+0VmMCKa0gD17us7Uqy+B2Vh1xB2KbXWzDfvZen9Ss5nxufZ4Ys8VhnzEyQMupbTBI5xUiCfWIJibHD0qyD+QIz+R0VSDcmnTv5iloJ95WcQU6gp1qDmBprJE2mRpIHuOCmdzClqAOlu9yx0VBM6kRitj0KgyDcEDCjnqx+B1ix/U1NIYnVbUhBJ6j7x7sdGnK1RKarI4cZpilVrHkHMWuCd9LGQLg++/hhX4lnWdydE+EjTIHzgB/MjEvGOKVatTXmaaIQTpCljy+qrmbAkYHkFmM7GJmTtaAQwA6nrgQ09uQznuPeGcLq5iNKnQjS72RVIM8xPNO1hhk4hwMhWhZgaSVqAGetjeP5YD8PzxBREyyaA8vVr1CSZNzRpryr4Bmva4wey3HSTUl6Ym2l116iB4SCD/HDyvlCQrhlPsYzGvXFRCtRQFYqvLp0gUyrF5PuFzg1muD0nB10su0AsxdEAFxMtpPiMCsjVZK+pQksFk0wRqAJiQSYjxGHHhmV+UDaoIBlYEMDa58jGI6kbkPB7bFA9jso5hctQYnbu6iyf8AK6z9WIn7AZQgkCqoIuorNA9zSD9+OhZzLqAG0rIZTMCfWHXA16TI5HXppFoJMAk9RhJae0otRsQ6vo+Rb0s1WSRMnSw3tMaTc+ePF7NZ+nennNQ/fDgX/wATfww7BabM4aoFM7na4BHsv0xrmKczBDJFmUyLdNiI+8YX5M2HyvscG9I9PMrmaYzDU2fuRBQk8veVImVBmZ+7HmDnpio/plGRB+DiQRf9fWF58gMZjqjdEXVjDwBu8ylOkGqQ1OlRRg5KKRQSq6salQanPNCIOUah1wM4pwbTw8NUCZjSxGtHYkrLLRXSOVoLGQDYCATtjXhfHw2VpKDVC0qdOkVCAPW10oZA5MUlTkiqDMPcdMDeE11crRr0KquWPwap3jrQfSdJPq81NjALJ4Ty4M4SnqJ3jH15RDqdXd5yNG1zTy5Np+YpuPDzxpw/LVC1ZlFhScGT84gEeMyAb32xYzYK5VdSqCFpghSSqmykKTcqOh8MKiNUfOEz8lSDU4YkDUbhh0DqbzBsI644H7mdy4POzqluIqEUm9U77cpvJ8J64eK1FhpmBzgWIPRo22nCV2Sqn+kahULdKt/WA5l9WSBJ/mcOD1WJTUQR3gIhVtykRA9u94jFJNAKfGkHcuT00nqYuLgCSTPTC6cmpPeLqmy8u3RtWmCTtthn4rTY0WWmrFmAKhfWJB/jE+WF6vSI1hkCkG66uq7HeFi/XxviD5KR4CPYEy2YO+rMKwMWI0kSLnbbe2Jq1H9Lqf8AdyZHtKhT91/rwJ7G5KmM0Ku7sSR6w0Av6kGOl72MyMMGbT9My/71Gun1BvwxdtOJOqkBshT+R4Y379Sl99RP54WeI0pyvEl8CrD3hW/lhjFXTksodQBTMtE+dX+N8B8wBq4qm50KxB29Q2gbC3jjo0F1/eCep0X7yyXi7FqilQC3d0rsLDlBNjAJvY4o11lOaHBEMGYA+M8pAgbQs4t5uupp5cqVVjQplybWK2I8fDFXSJFpAGoBVBPtFoW+LNkuhvk6IU05Q2MSFkqJtBYgAeyZwTHGO4qMppB1JJYjlPiJiVY7+GAXC8k1VporUIBuUUO1zzBqjkoOlhtgxm1Pf6SlcCCeRAx5f3hZRsL7eOFusmSsK5PimWrOGFbuKkSFqckz4BrMPYcF+FZlqVYF2XuzMuR9Qnw2wk8RzamAihkErpOmSepLgX8fxxX4ZmzRMh3Avyhl0z4Q1vHzwElLLGcuiOyZx1NJjII0kzNrX3wOzX6xhYsbjyG4N7YQeF5upXJ72oGVlnu1QKov1jcx5+7DNwnPolHu2epKsRLK5AvKhWHzQp2wJwb4MpJck+VBWvXsbim9pg8sSABvIjFsUpO8WIErt7Z6m+Bi52kcwWNVAhpKObUOZT4kDpgoMxSaNNSiQY1c46bAav8A22ILTmllFN8W8M476aCfhtENuMsoPurVsZjT0yt+m0YIP6OLhgf+dWO4tjMdC4Jvkt5TsZVr5LLqudqgCkrNSUcoSqisUna5iSxIsLHppnuAkDKZSqa60VrsoZh3gKuyglwijujHKFkg6pkRGGHg7q2Sy5KGqoo0SIaNIWmqNvvBJJG0DF9swUAAIMFWWnrhiisqggam7zRINx7gROPL0fEa2/bJ2mSTe4YuMNKVIkQVAjyIAH1DC8gUxpZgATcXFzqPhfV1/jg/xUDu6gNxt5Xbe314XM8Ip1GUFiFIBLCxI0ySxFvfhpO2d6WAb2WrBuJFlEBlrQNxtNoMRacOtZp0+Oofd1EHHP8AsYCudpArpMVARMxyHeDH+2OhVdt+q++Z9+Laip0TiyGrxApWojumdaj6WYOVCRcSBdiegsLGcCeIljXqX0jUx6debrItMec+N8E+LrzUDH/OU7TeD529uKHFge9fSNUkSJieUGx6Na0xPiMQb6FUR8DZu/paiQFAPNBkyIUMpA2PgZAwezds5lT0msv/AJ4BZQAVQ5gglSrCx8IN+YavC3twc47U0VKDx6tap99v54tDMfqhJc/QSeLPGUXxTOL9Rcf74x0nP8SSfWytNgP8LifvGIOKZkfBcy2knu80BBaLhlEyBYX2+/BYqRxWrTNg+VmLbgqJ8zE747o+lJHPLLsBUs3OTypWxGXpatuaJGmWMdPM+GI+/EBFEkm4ZiNM31B2Hyhm3LtjzIMz8LyLzqI1oVEKDpqMQSR6sAQNhitm+RohuXdmUErN5A2ZRfce/GFGjhPaHLSlFM1VcLJPdUylAEDU2uoVBqGZvMHwwN4nxwu2gHWku0jT6pIgmTsI3AnA7hzl61MhpBVkZu6mQNyZssm4AxR4vS5xrqBlU3BSmpAibMLLETteMZ00DKLNBhCks7ENYFUX7plsb1Ke0/NaVBDFhPUE7AT0jAn41VaDKzUadWmwBNB6aF+76O9WAyVGuQi2A6dcNmS4MtR6daktXNZWsne06QYSp201GZgIBm5k9LxjJWbg24JWenRUhQ93JCgmLncycVeJ8NfM1jUGZzGWJCiKNXSsqInRM6iNyfDDP8G7taafB0oAyAivZTI0ktTWx8xMTjbNcMqqhOgCDJKVCxHn6onFKNQmvw7OKo08TzckwA5VgfG6k42rpnWT/wCYJVSwYvQosFO4BLLfDKcpqi+nrIWDtvKmZ88V++imyuspqgMzDmPRSWFyfMHASl0Btj2OVdvKNZa9PvaiVD3IIZaSoI7x+iCDeb/hjMW/SSR8JphSsCiBAi3ytS1sZgNO8j0ug09khWKU3tpajTVvlFhUSlHzWJBNmAImTAG+CXZfjwzQp1BRKlao71qa6aigMVDVHBMJZQUKyYJJicUeA5ZQMspXUKtOkWNRBpJ7hNALIsQNJjZ5AlvGXiedbKVDpqIgrVED0KZZ2RQzNTqUzT0E62LBtR5Zvq2xyaChvckT5Y/51SabiLwD943wr8SyqVaOYSp6yU6VekDMoVZkZ5iNmUXP8MNPFVAp1fADptYjw2/2wHBLUa4I/wCQwO1yCu4Hlf345I+49BcCv2ab/idObEtUsb7obSOm2OiVZ8BYrv7fZjnfBF/4rSiI72PeaZx0au4AjVvAA9+2+L63JKHBLSya1XXWshW1jn03WbwLtci22AvE8vNYsPAdB+zI+/xOLa5RFzevQNbUtJe0kA2F7+dh0vgf2pzYpkw3MyACLyIi4mx6gjwOIv1UkupVYf0KJzK06qhmgs0kNcSB0mSCbTLbjEnaPiDtUy7TvmApH+H/AGwsM2p0L6rsJnfe6k+M3thj46sCiSAYzVLebSSCbEXicd2lpqKOac22BM/kjUynGFBMrXUgATuqtYe7ByvqPGKNSJSpk4JtvZoiZn2Y14rkqrrxJKYJNb9SAwBLBfdpHnN/HElHg1Q5rK14WKOXNFxq5gxAsoAMies4qk7tiN9BVyOU7vI0odWYVczTtqIA7wveAGkSZ6DEObgoCSf21amAwGwOkQZ1ewk3uMG+NZEUFp0g8k1KrwA8/KQbaZNoN8Bc5kaioxak2q0uYy6ERAlqzBiQP54LAS8MdnNPX3Zpq4Daq3qzMOFXYHz8xj3LcLytXNd3SKEMoNTTNyCBsRIG+8424Nw/NVETRTqVEBBWojUxS06rjvSZqRfYXiJONeA56pT4kUak7a5pmCNKKrSXYncyRt0xkgMzP8Ap1mbUJ1ljA8CQtx4hYAxRp5CqtI5alWq0UR2aKdQpMi+rykD6zgn25z5oPlWWwbMIvUSCQWEixBFiD5EYX87nivGq9NnVVFMA94ogxD+/cwfdjGGKpmGpZfKKzMVWpoZi/eEgmNLAmSPPBheFoKhNPLjUklWp01AA2gsDInxIwEzyM2Upl3prorKxPdWIkDUPcfKcGu0vpAy+QqCjTou9XTLPTpggqwkAGdx1kHDRavJvketn0Rrs+sEQisjA2+cwEC/Sx8sVc7Q+FsrVAzCmZUISEUxEmbsw8enSMKlDtzUUfo+RqECQGqMAfEiFWwHkQcV832y4g6n9Hy9ID570mePCTWLAn/Di3mRqhKbKnpLH6VTvPyI6sf8AmVNy2MwC7VZrNPVRszVLuaY06UCqF1NCqFAETOw6nGYjKVuyiR2fgyq+UyqkSVoZdiNiPk101CTuCRANrggYAdseGUqY71alMF6oYU6gEsxYBjTLXURuDOwIg779nK1WnRoF9K0kpUY78gW7vvCViSyiRGw9sEYJ5/KLnVCxUo/pFNtNizyAgqCm0jRJiSIgkkG2PB01KOvduv37fgRL1DpnbioRflMfVYG+Ac8riKZ1U3SJ6MNuW9iOlr4Lcd4hSo02NaoKan5INodgWKmLIDNgcJdbtVlo0pSzdcnrTorTE7mGqEss+EYq4yvB6MeAJwrPxm6VUwSHUhQI6RYXP/8AMMXEFqshcmopBDK8WUg2mViOnvwF7Fun9K0gKFSmFNSEdy9QMEJi4VR4zEjDx2t7UUqdCrTZKt0sSQRMyNttt4x3SlnjJCCF3ivas1q9LSujSjE3Hj7RHX24jzuYevVTTLgAfNmLkTYE222O/TEGR4UaiVMxmHqVtCRTbUq6ZENy0wrMb7mwi2FTjNOsz6TmKz04X5NarlUmwCqCNXX2Yp5aWET3th/N94n6xqdMAx8tUpUZv6w1sWJAjpNtsHKvpFyFMEfCDVO5FCm7/UxUD78c8p8LoohVaaM5YkNUkNAMENp2FiQTG+DGayi0XZKdIqxiBpBYSuuRqFwSQPIG18UWBRnzfbciimZpZSoyMzUwtR0pm1gXUq7EG8afOemA9bt9n6oIUZbLgSAAr1Hke06IPmMF+GCm6JRqEE1gIDHQxdRqYLblMFl9w2OAWY4bWoswIgs+ozpJKhzocgEg+F5Ji++MYhzzZ5lZauero4gMisKV4kgU6SqTIkiYwE+LtLUveqxBMtVdiQom5YmWAi4ABJ2w+9ochTpawa7N3irUJNMXDD/q3CmwI0gb3wm54TTd6SkomnW6rqCTBWWMxBvGxnATtGqsD3wftRk6hFOlnczVFJbfJ91RCrC6YVEDRaA04C8MmrnaRgSH7zVqHiSJCjc3+u+BPCagBKqoVdDSxpEwTF2kw2rpFsW8jX7jMKVB1NpRVGldUteQL2WcNYr7EvpmpkZSi37GY/8A0P4Yx+z9OrxrMZirmVy1OnTpGSygu1Sn6o1kCIDEm/TFn0yDVw1iOlemfrDjHmf7ZVMqyjL5KlWqVKNGq1VmOoyukLYWj+0JnDM3yGPjXZ+n8A10nqVka8lwQQY5hpAEWwM7V9nKbJ36CoWVRq1MxQoojUGPIIkGCcFcz6Q6bZWqtVClRafqgq0kqDyhtwG8ZwnZ/t/mmy6KmiirsaRLKjal0wCBOlJ2sOvliKbcmmPikU8x3aAKaUEX7wMIMi5AXedtseVMlrQKF0K8imKfeammLxYdOojEOQr1W7taSqzPChmSqdJmCGIgCD1MWwwca7R5fhVLSB3uZYAtvc+ZM6V/cF43w4pz7trwJ6NemHLAvSD6S0lRrdY3IHqzAMXx7gLx3tRXzlXvazSQNKgWCqCSFAHSSfrxmME6LwrJVaeXU0xUp1WpU3pBG75XPdIS8MmpSBHIuxJgkHF/sfkq1HiqZh9KHMGCKrlqurS+pBECTZocSFIuNsGuz3EV+BUVFamg7mhZao7zUtNSdzvaYtaREXxUhRn+HlajVAj6C7GdXeaiXboGJIAIvAEjYnx9PVk5tfMEfcPHEjFJiwspDGSNtXrXt54AZriVOimqpVFJWYIHAJSSJDHR6gHVhAAM4Y84YptY2g7/ALw8Jws9pkZeH99RAD98QpIDAetRuGkN1sfLDKKlNI7bqNidwai44wqswpt3tQNBBjUp2YnmBF56z5YfONZWl3FdaYR3CFiJEnSCbnHJ8nUK/Bo/WUKpyzXjUEErfoIZhg1x/PNSoNUpllZDIIHq3AIPNefDY49CWluaafBzxmkmmedmOBCtWzKK+gslKpY3MqTMhvHp4YEZ0RVVYNQgXMbadW0TufZti3wXjBTMO5LiKVFtInU1z4RNjG+LdfiQqcSpVDYOqqAATzBiASZMeGK5sn0KuZyPchSKgKVEkPBWV1EMmx01FMoQeoHjhi4ie8rU4DiooC1IkaHpw1N5YFdJF4FyR0xR7QZQIqogju6jPZZ/XCYAH7yE++cNnCqS18xUYADQzq2864UEMJ6RbywzwA532lQ01ZmYjTsx3AFxcySS2wG5kk2wxUeKjPZChmVCnNCpTo1agOh0gwGPjJIOkC5nAT00jQKSi3eVHYj+woUf+R+vAX0YcQJatlb/ACmiojCJR0YDUNXiDc+AwFkI18Vo1lLIY0q7JSqEw7Kedl5gUIQSAQNX1YF5Xhr01Wut1IZq2pTzUie7NKOi6QWgDfSemDHFM53wzI1iaVdqb0521alXu/BmAv4nG7ZRk4Q+ptRNF6kxtuQtjELHTwxhcgbgwTVpBW6PT1CkzEwIA1Pyzbbb7sE85wHMZTuqzeqWGgabyfmmCYJwM4PSiuEaomqBp7yoeY6NQYC8Ne/iBglxrtw+YaimkFcuRUaAQGdRCwx6b388K7tUN3sJelOmDwusAZhqbf8A5j8cK2bzJK5azNqylE6dWlWZDpGrqd8OXbNx/R+YcqjzTWppa43Q3giY/kMKWUzD1MtlHRQC1N1imoAAUwAZPKo3jqcVYqdkPHEV8tTOmlLIpIBMqRIMW+o4B5cKaVPvdIUVlJBqMbRYAAWv1wa7RU2KU11aVI2NSOYE7hB1E9YwATKuEMTU0MjEKoFg0QZ6Xwgw9+jyhqr1CqJ8kgEKZGpmIsfcRcYU/SjwKtRrtUrD1iNN5F72+/Dt6Ls9THwnT+sWoARJgiSZUNcXmYMYtemWiK3DDVMa0dbeUx/PAd4MqycETGYxMZgmHbgHaf4NVV2q0IRUsuXDlvk13uvMsBZJF9WGrs32gTMcSSs7u1So6oKJVCKTAhQ0vGgMsnkBaJBiMFODdnsmctlycjSqOaVFiBTlnlF1XJ0kyZvhE7F5ND2hSm5ZVXM1CqrN2psxRd7CQBPhjz9PUjrbqTVfIEMtH0Dml1IwB6efiPAz5YWKmfFXhtAc4K5kqw0787gna639YYaM/VC0nJR25SdIZQT0IEsB53Iwj5njtKpl2KpVWcym5UtY6TJVmGiSNjtgaMW54+B1yaUTmmVqn4VVohJIzgcmfFmQKOl56+GGbjmjuaqVAQhU80KIYRHjEGJMYD9lEQ8cq06iswOYlQnV1dnSbiBq3OOgdtcjRp0m76i7hlMhXvO9h3wPTHc5VLac9Ys5tQzMVllQf0anHT51z6vhiXhdVhnstpTSS9gDMqCN+UeO1vfitkcyK2cUU6YpKKJRZbcI3UszCem+GGlkjmK9KsrBO6klVJkhSHt7gReNxhxQr2xJTmABC1KZMjrFQRYgiZi38sb9kO0ne5vVSpLRp5hGq1VuXZ0kFiWZoudhFvE4Xe0Pamjmge5FZWd1f5QjTs0IgBtv18MXexDImbU6VEq4MeJSbH+WC8sxB6cKZK5Rp61h/wCBwo9gUf4U+ir3ZWhVeQASdAD6RqEDbfyw4+masGoZcggxUqC3mimMKnoxqheI8wBU0cwCD1+RYxjPkwVocbr1n1V3diyiERgbi8tpi5JtPn44dsllQeG6SfWo1lhZJElrC8k3gCcIKPpI5GDcpIFxHTTMERbyOCuQ7VoqClUypbuyxnvAB8qRzGDta2+ABqyDvGFdFmqICd2TRAJU0wAGuYi4J3BxVGb5oKsxVkEcvzNyZ3EWjFfMZk1cwKi0yF1AafWIKjTILMLECbCMaZrJCmqhSKikl9K6OSG8NRLTv1xgnTuI0vheXemiOFrURDaZCBhaYtIgWBwAq9ju6ytKlW0lKRYFy3dzqkhpJsVMWO/lhUyvavOBAgzDIihgqhVsq2tNyPwxs/Hs1VgGrWYML+qdXsjY2ODihUqOi8NzvD6WTRnWjKAqyR3kibkGDqk3te+OZZ3itMpUCIqiDALljyVOUMLQALR4b4J5ymWoorlxdzNlIEctj1MAeBvgBoVadUc3zuaF0+Qnp/PE4wptjt2OPo0qO+drvNMBU5lC3moQeU/sgjbbDP6QUapw/MiPVp6x7mB/lhM9HiPTzsDWVenzOqnS40ArLTAAPkL2x0TtIg+BZkblqFUD/IeuK9Cf8j5wXHuPFx7hRz6M4N2crVcjQV6+XpUny9G4ZhUg00IIIICsPG++Ensv2Qp5DiK5ivmKVYU2JXu6jITUmL98oDLGrYmbQd8OPAsmTlMuWdFmhRiXUmO6WLEjE+eyqjupZXisgkkNFmHjAxLT8MoJ/Ez1FikX+IcWGaptSQMocFW7t1Zo6xNvfgdw/sJRC92lYhS0jvEViD1gyMCO1uYzdAK2UNFw0g03poSsR6rAyZkzPuxY4c2f0I75fL1+8QMVU92abaiIMBtQgDwxSOnCKqJt+7k9yfo6GU4otXvXIYGtKKsaqd9AUTcza9xOCfa7hdHMqQWqlu7dAAq21D2MR7r4tZWyDXSCORzBQxAPgD1HmRiQUwdgx6WWP4RhPIcmpOXAHPFROa8J7CgFCaqsEVkgipTJvqO9Mkm1rYYeFdj6zMzR3QJi7VDPgZKcwi2wvhoXILMimoPiwH+5xrU4LSYzUpU2/wAJH8DOKx05LrZNX1YrL6NskrFDVzBdY1JTG07XYLY3gnzxJw/szSy1RaiVK3KWVRWC6YZYI5VmQOoOGTK5WnTrkJQTnpAzzfMYr+14MMXa9J2vrqLaIDsB7r2waafA7qhJ7TcFpZ+kn6VQpim7HVBMyNJXSQDa3XAThvZejkKornOK6w9ORl2E61K2k369OmOj57hIrR3qrVgaflAGt71n6iOuBD9gcsdqCr/Zeqv/AIuLeWG22LbQiHI5K4+EZwodJk0aZVptI1EWHgMaNwvJXHwnMgqZC/B1HkAIccp/ew+r6PaEydYAEaVqPHv7wtI2t5eeM+IFCIDVbbRUW3X51M/xwNsvgDcznHC+zGWqqrtn8tTqXLU6iPqQ6iCrFQVgbyPHDT2c7G5BhXWrmaT1mVjTZEZUTlIDdNRBEkdcW8r6OaPe1lLVgutXBXRsyhv2L8wYETFvPE//AMI8pPqViLwzVRP1FIHXY+GFcHJUvyZTzYoZLs/lWRC/ENLSTK0CPaJD/wAsWV7HUqwJTiFECSAtWi6eRkqxN4nzEYaX9E2UA5UcHZicwQSPCyx92N8v6Mcqhkd/O39aaIH9hFOHWnI275izT9HEUo+FZIgsZYJUYxAkAFbHFDg/YxKpqd3n6BnWpijUJEW6iPDD1m+w6NTFOlVq5enzFhT1uWJ6k1ZOKGT9FqUiTSzWbUmQSFUT02wfLl2DuB/YzgYo5h6pzaueakyik4FoAIJ29mHfMZXvNSEgAqwnxlfA4Tm9GVOmCFzWbVidU96ov4wBv78S/F+pIL8Qc8umJvbqCCSD7MB4w/yLvj3OYdpOz4y701DFtVIPNhuzLb/L1xmCfbumFzCAVGqfJCWaTfvHtJAkYzCFE7Q/cGyAbL0D8F1HuqPMACf1a3ucW83whjp/R6cBg3NA2kQQMcjpdosyFVRma4AAAAqvAAEAATYAYlp9ps39KzH2r/mxlpQ6tibWdVfhRggZSipPzhUAj3T92IU4BmhdagXwAq/lBmcc4p9qc4Ns3mPtn/NjR+1Wcn+t5n7Z/wA2AtLTXc2yzrLZHOgDTXAPnUeB7gL4I5ehmT62YQePIGHtGpccUHarOfS8z9s/5sav2pzcf1vMfbP+bFPRHi/7Nsrg7vQoVF9eqlUeVPSfaCD/ABGLBqX2+/HzvU7SZo75mv8Aav8AjiIcezP0it9o344PnV0NR9F1IkOYBAYDnGzRMjrsMRtxGmN3Qe//AHx87PxquRevVP8A9xvxxi8Yr/8AWq/52/HAes+wGnR9CPxykI+US+38caNx+nH6weVscEHHMxH6+t9o344w8dzEf1it9o344R60+iQtT+B3Ru1NIbsxA8BiMdraZmKbkDzxxGnx7MjbMVvtG/HEdXjuY+kVvtG/HA87VfVf0DbPuduftiB/yo3jU/4WxVq9rqs2SmB5yTPlfHF24zXO9eqf8bfjjz+l6/8A1qv+dvxwvmav+wNk+52Bu19Y7FFH9kYiftHWIvWK+8D2WG2OStxasY+Wq/52/HHo4vW/61X/ADt+OE/ydZAelLudTGfqsb1Kxt81zP3Rj13eObvCdrufvv8AxxzAcfzNv0it9o3448HHsx9IrfaN+OEcJvqB6Mn1OiPWWTCEx01GdoHXG39IwIuDa0fcPPHNK/F65MmtVJ8S7fjiD+kqs/ran+c/jgLSvk3/AJ+4e7b5gvmEJMxTA+p38cZhcr5lnMszMdpJJ8+uMxdKkdMY0qP/2Q=="/>
          <p:cNvSpPr>
            <a:spLocks noChangeAspect="1" noChangeArrowheads="1"/>
          </p:cNvSpPr>
          <p:nvPr/>
        </p:nvSpPr>
        <p:spPr bwMode="auto">
          <a:xfrm>
            <a:off x="12223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utoShape 2" descr="data:image/jpeg;base64,/9j/4AAQSkZJRgABAQAAAQABAAD/2wCEAAkGBxMTEhQUEhMWFRUXFhgXGBcVFxUWFRcXFxgYGBgXFxcYHCggGBolHBUYITEhJSkrLi4uFx8zODMsNygtLiwBCgoKDg0OGxAQGywkHCQsLCwsLCwsLCwsLCwsLCwsLCwsLCwsLCwsLCwsLCwsLCwsLCwsLCwsLCwsLCwsLCwsLP/AABEIAP4AqwMBIgACEQEDEQH/xAAcAAACAwEBAQEAAAAAAAAAAAADBAECBQYABwj/xAA/EAABAwIEAwYDBgQGAQUAAAABAAIRAyEEEjFBBVFhEyJxgZHwMqGxBhRCUsHRI5Lh8QckM2JygrIVQ4Oiwv/EABoBAAIDAQEAAAAAAAAAAAAAAAIDAQQFAAb/xAAqEQACAgICAQQBAwUBAAAAAAAAAQIRAyESMUEEE1Fh8CJxsTIzgZHRI//aAAwDAQACEQMRAD8A+d02GN/HyEorcMbmd9k+KAI/6r2UNBA05rJeQ2PboQqUi7f37+ioMKb3Nk8WTr79yrU2FdzaBcEZbqJmJOqA+gR+IrZfQmfJL4ilfpz6eymxyC+CMWo0/mKs1jiLE/1Tn3Um4BganYDmeQTDcC4nLlOYXI0I5zyTOdAcDK735ihPa78x9VsDAuucthrpuUu7DE7b2jqjU0KlB0ZBDvzH5/uvUqz2mznDwcQtp+AyktqNcHEdwCPimBInmIjVI08A9+bKwnKJdA0F7n0PojU0wKaBh7jfO71P7qcz93u/mKszDOyl0d0GCdvDqj0sM8sLshy89tYnwm06Lm0idinaP/O71P7qXPePxO/mITrcC8tDsvdIJBi1rG/RBLNvmu5I79SAMqv/ADuHmf3RadR/53ep/de7O/iiMZYqCOTRR1V/53/zFU7R/wCd3qf3RqzFQ091x3J/ILtX6Z3fzH9+qkYqoP8A3H/zOU7hT2fVTonm/k7OjQkDwB9+iBWo7fr46LfGDIY0mDYRHgOm36pJmDc6SNeSw45dmzKGjNOGgT8yOajJNvLWY81rU8LzgoLsKS42iTt73RrImLcBOq3u6/rry5JGqwk6D39Fr1qcDQxpM2t+6TouMkRz8wnRkDSE8HVcw93U20/RN0qz2P7SxcRHhMTvI0UjDQRbb34IwcGmT5f2R2mKlopRBax4ygh4EyDsZB8v0S2HoQ6Q7KWd4HqCCPMp7OTBDHBrpDXkENJAuMxsY/VIYvFNbcOB5wL25wiV+BLaasisyXMc0MblbmAEAS1xdFz7BCjANextVzDTGcEOY7WJi02MyfCOqEHEt+IUxMQYzEActtQEKiWh3ddJ3AiD5ko6dUBd7AZ3tpvphvdcRJ105XgH53PNWaahZAbbJkmO8GTmy8olGxWPv3miBItOvI32U8Px7W95tiCLaOIOsOF7Jt66Fur7KUMTUaC0G0FuXcgknfQySl30ibtny9+5XTYXFUy6TlJAJBcM2sGZOp8eSI5uYEwHWMPYdIdAMAS2I3Q8voLj9nI1WXPPa0ba/ReY20ea2cXRBcbZb6TaYmbjqkmUxny6FovOh5EeUIlLVgtbAdiSOUc0MUlpigTcyBa8fRAbLSbSI96LrBoy6lGEMhN1WFD7MokzqPrT3WAHIfQeqA3BkaWlarMKGhpubNPhYK9HWIBj6ewvKqZvNiNKiA0xAPMR7ukn4Mydx093W+WBx2/fnfldZuLYJjUaEztF/km457Bb0YeNoyQAIGkdRAJnnokm0CCLf1um+M1wwQ6wBgDmYmAPCfUrHxPEHBvaGAAbC4JPLNp4xO60MSlLaESlFLZomiW3IIgaG2sRA3mdFm8VxIpNY/uumcrLHTukuGrYP0SeP46KhpyT3Gm5JJcTJBvoJNm7LBxWKLid5Mz9VexYK7M/LnvSOlw32ia0d5oI7uUbZdwBtefVI8U44xxijRYwG8xmcJsBJ0AAFgsAvQ3VIurCxKyvzY5XxRME6/RCZiyNPPqkzV6Koqo+CI5M0hirdOWqE6pul2vt5ow5a+C7jRPJsfbiS3f3snqWILCIJAiLGNZnT1WdgcPmqBuZrOZecsbewn2im13eeHwdBvHI8j6oHRKvsafiXGGGSQSL6wbnXcyETC4hjsTlqns2lzmmoQHZCScpcNwJGmseYpieOlxHZ5sOwNFIMoXApySbuOZzi4km951SNGs1wuQIjWxJmAW2sQItfe+yW46GJ/7Otdwaq2gyq8QXSSzLDmtaYzRsCZHlK558tfBME300HuPVEwRr1C+m7EOYWNlwqHvBt933iDNtipo4Y95+ZoAa1xL6jA45i+LEzNpgC0iyivBKFsbTBNrHX+3zWcQVqB4IMQRtG/WeSVdWAOilIKSs+0Z5bMAtytFr+ioKUAu2I5eqK94yNt+EHfl/RCc98AANAi8zI5aTJN/ReRS3SNXwVDQATGgny9ysTE8XpljnCbguAbdxa2ZtNrjXQXWzQxEiYmDcAaERHlv81xPEKNSnVxoovhz8lTsgABUY+ASHahwcPC+ivelxxm2n2Bkm10c1xrij3uLn230MNn4Wg76GSVzr8c557xJJ9wE5xGu57niTNs0w0jKNCNzf5FK9iA1pg5jfpC9HjhGMTKyzcmeBtKo969KE8JqEE9oqPqIZcvNEowSSr9mBqR4C5VJ9FRxXdkjJfsEX71pAgxrvZL5DAOgVm5fzfJC0EixqEm60KTWsbL7zoP1Kzs4Gnqdl4P5qGrJTo024sCP4bYi/jESeu6I2sx7nd0Uw42DZIB8yTG6QpP5pisAxwcY2MAgkIGg0xjDdmH/xHO+F3wibgHKJn4SYnoVo4LDGqyrVY1raAeGuaCMznw05ROgIMzbeNFg060yAPiNjy8BoujweOqMospZWdkATIA7Qy4vBLh8QE6ckE9BRVv6PVWx+HLy39lJvpuJMC3h/RaLnlxHLn710QC7wHSEqDHyR9fYyWgnUNFhvYQFFCoHsGX4dtjOkOneRoj4Zh7sGQWj1gJLG4B3ffR+Nw7zJhr7QDP4H3+KNhPTy64t91/BeuhPjVN9OMTTBdlH8VgtnpamI1c25HmFyn2u47T7VtfDua7/LuaY3khzD4gz6LosP9sqIozWcGVW9ypSv2naNsWhu/jpdfOeMhjqrqjKXZUzBaHNIBMaQdZ5DZano8L5/+kXq1+/54K+WerTABrcmsvzOzkAw4kSXNMRoSOkLJcO6AeeptYW9ErUflPcMJmmBUmahDv8AcCQRprsttRrZRcr0Q6gSSGw6ORlLVmQL2Mo9OmJi5HMWVHNzQJjx3mEaAaFS1WqvJidtNPZV6jC0wREIB6owKPFsQSLHRUlXcSfeyoWqTi+fMbqxYqMajwB1PIKGFQIhWarkiIUZgos6qDioALa/JBc9W7BxGYfDMTI15FedThs6mY8OpUInZocMw2cEAEuIMAAE+n7Lb4OC5hYbOYS0yL/Pa/yXJUahkc10/A+LFzspayQPiOYO1m5mDcnUT1Sc8XTH4pKx9+FcAYnYgaDqehSha/8AJP8A2K131CRe8+/RBdTItP8A9QfnCqRyll40z6dRrns2kAmALCATpsTYWCDWq13ss5uHEGcoD6pnSCe4zn+NDwFb+GI5C48BdLcX4s9oDKbA+s8Hs2u0OWJceTRmC89jTc6SV/L/ACi5LGqt9Hy77T4L7tj5ZWcXGKgeSe0ady5xF5gmQt3H4nF41lSo5lINaC3I+e1piziYIEOOXUjRadL7AB4qVK1dzsU45swGWm07Ag6jQa2XO/arimJa5rK7BTrBmVz2H/VpnSYsYgwepXoIZY5eKg02vP8Az6KLhwtvSfg5anhLk/hOv9FfDtBnKIHNFc9phufLO5EgeibpYJl4qNy67+wrjm62V1HZmuw5B7oJPIAyqVcG/UAyDsDMrbxOJLoc0ZREAi5tY+AussC8EkGbqYzbBlCmKvdViHZo5FLkXunsbhiywJI1ShbdMi0xclRBhDmDoCiPFt+iqGE7FGiBz7znGQ5W6QQIjaD0SWWDHL08l4G0oYeoSCbDGOaqAOaHKgFTQNh2vPvRXoVyxwLdfUeBQA9WKijkw8BxJMXBtYbGeiLw6rlqB20ibJZj05Sa3M7S4kQN/wBIKiXVDI9o7A1pbNgZ0GpuPrz6Iwqt5T19hYXBap0jNra+wBtyW1BNwy22mmyzJwUXRpwfJWdbheI9mxsDMcoAb+Y8rnrMpLB0qwzudXaKjzdzackcmtL3ENA2EfNUwjoDZtYGT4bLRFGIkDNckdeQA6rKvhaXkuuCfZn4r7HNrD+NicQ//k9oaJGuXJGywOLYSjhaT6NTENrPykUhlEtBiCXNJIM5hlPjZdfi8K6tTNNx7Om6A4CO0cDtJ+Cw667ItP7K4NjMrcOy4yybuOxOY3m6sYvV+3/cbf0kinlwcn+lHxephyXHLZv0TeHMNIm8Qeo5LZ+1H2eqYVstcXUybH5hro3t5rEDtAGglup5zpIWzHIskLXRmyi4umaeHqdx2QR3YiZk8x5pWk0am56/r0XqTCWzeB5RzUCo5ly0xyIlBXwTb8lyWXzTaYiI8OqQqsptk5i49NPXdbGGNKsyDDHbRpGk/usbifD30onRwkH9EWN7pkzTq1sUrYgkADQac/VLOJUlesrS0V9lSqFWIVCUSIJlelUzKwC44tKKwShCmiUzBUHFsibwwN5PRBaEzh2mCIJOtulylyYyK2O8If2bw76fRdFUxRJmYm8cvmubw9Mu0EwJMchr8k22sRaSqmSCk7L2KTij6LhwC1vRo8rBM03XOh6TfwMqmEpBrG3A7o9fPdRh2SbjnHVYL2arVDNbFmYDZm8zEeZtunXOOruVx+yz2077Ei8Semt1qUXSL/WEMl0xUn8HG/4g4gtp0qJk5zmOkw2AAPP6LmMPwomiKgN3EjS/dgfp812/HsM2ricpbMMaAdpuSPHRKUOFigHgSWfEJMwYhzb7aLTw5VDEorsq+zzlb6ODr9rTJhsieXzVg57iM1p0AEC3Jb/G2ktaQMrRNzrZc7Qrl1QN0gG7yArsJ81YieHg6NPDYamx7gBmdMEayCNIGipxTEDIaL2kQO7OsXiE9hsa2lSFSMznk9OfPTquX4vjH1HgOI1JkddgphFzlsLJKMIUjKcbqAruZe3zUEK6ZzBvcUMlEcFWERANS1yktXmMXA1sOoAurBSxt0AVDFMI2bKWuHO4P08CLKtBsghervsBpznpKX5HJUg+HxEEd0ayE8103kfL9ljMNrAkgn03TlJ5j+qGUCzjm6PrHDq4LBFyGj6JiiCDf9Z9JlZeArgBpEaDzj+628LiJ5e/DwXm8iaZrsLSBlP02AXPv5oeJpTcOA6cz5pf70dNY3CTbYmSvoXoVm9pUdIPfPkQAOfRTXY18zAmekiP7rkuLUcYyo5tGk5wfULg5omZMw6PhgndYv2vZicMykataajy85W/C0NganW7vktPHg5tJNbESzKCvZrceGQtzQabpHkuY460ND8gJEBwJtAcIN94ICUwvEXVGP7V8uc4EA/UdU4zF08zhUcIfQLXE7PbynfRaGPE8bFzzKcdGOa0NaxzjAk22Lo1nwSterJEbJ3jT2vbTe3kRt5SOazGBXIryZ2STT4hWuUPUlUK4WV1VAjNahOCJM6ioRhoqNCsDsuYSJUheAUEqCRijWgg6xsh1akoRKkKKCu9DFE2Otr2+apfmpZab6ojaoGygsJa7O+4XiJAPgIPh/VdJgsRzN9Og6336Lj+G1QQBE2HlYLcwla36/VYOeOzZxq0dRVrZ25QTcC/vzXqlQAQIiZSGAxQBvHI/O3zPoj4p8jb3b9lTa2Q4DGHqHNaNPRcb/idw6pV7JzKbixjHhzgCQ0kgiYuBDT6LpMLVLdNNptMH+q1G1QQTtoQeoMx9FYxZFhlzRVzY+SaZ+eHghUc8nVd1/iXwrJVbVa0Cm5sd0WDgTrGkyuHdT6r0WHKskFJGPODg6PTYe4V6aCEbDlGxd7IUkIj28lSVBxQOVRdSQqKSbLRdXaxeUyosJFyqFWatKngmfiqeglC5cRsYOfRkupnknsFwt7zER15Jt2GuAGnxOg8lqsGUZRHOZubJOTM0tF30/pFKVy6Eq2BosEAl7gBJ0HhZJOj8gTGMxQktaPXdJl5QwutljJKCdRRs4LFWAC3cFWDQJdE9fkuPwj9CtanUEQkZsWw8GTR1uBxIc4wb+g/sjniEmJ+X02m65XC4pzYIKZp4q4J+WqqSwbLPNM6V1cDrHvmmsLijAHhrp7/AHXLU8UD+LpfnCdwmIDSbz0v8rpTxCZbH/tXTa/CVQdA2dtZ+S+QOYvpnG8SX4eoBrAPpfzXzOoVp+gTUGjH9Z/UgKLS1VQE1TwVXUUqkHfI6PWFfZTorlVKlOycbRIElrheLgi42vur/c3n8DjImwOnPwS+QXFmcWWVWsTmIpFpggg8iCD6FLwi5E0UXmtUuTmAw83IMcua5ySVhRi5OjQ4Fwt7iXZRlGpIBgEawugocJGrmkN2cTAPUDdXwBp04LxmIi34R4ncpTi3FXPd8VukgALNnOeSWujcw4oY4WwvEMrW5WALMovLu6T56R4KodzkzohOqluiKMaVDHPdoVxTRmNz4n90uRyR6snW6rkCsp0ipPbbFWVCn6NdZDXQjteUyUbK+OdG22pHUIzK8wAsmlXIVm1bpDxltZDXJyrQoPMT7haHFcYyjhMI8YbDPdWYXOdUpSbE6Q4DZZ2HxXaNceyY0tGb+HIbH/EkwqrtxuhkJKTGqdQDW/zH9v3XOca4NPfp35garoOF0RXLzmytZSdUJ8B3R0kwEvgKTq1RlNhAdUdqT3QIkknlEnyRQk4O0Vs0IyTOIqUHDVpHktnA4+scPVAq1Zz0g3vvsIqWF7eHRbGOr4J3dD67o0flYGnqGE5o8VThWCpdg+tVLm0xUFNrWAF9SpBdlEmBlaZLjz3Vt5nx2igsaT70K1nf5egKhqOIdWdYg3JZJOa5KYqYlwLwDUj7vTAynvgd2BISmOfSLf4ZqSDGV+Ww1JkW1HJX+0GBFDsslSoXVKTKl+7AdoJBnZCmm99sY9GPxCS8zn/+Qy4jqUqAulx/BqVBrfv1aoKzmh3YUhnqtaYy9q55hhj8OqQo4CjWJGHfUDhcMqhsujkWnVO5pK/HyKjBzejPoYfMem63aTAxoMX26D91s/YllFrMQa1FtQU6LqsFozAt2BOyRx+EIyme44SHc+lt1Unm5T4/jL/p8VL7FjiCRpp80vi3wZ2Wlw2m01qbSBeo0QQCCHEDeyQ+0bv49VuRrWsqOa0MblENcQLbnqojTlRZlKlTKFrrnaEsHk2hXp4vM2Ij3qi0mgX+qPrsbGKlVFXsESQQl3AHY+/JXq1HbJcufzRRQGRpPoy0RrkCVLSrjRkKWxpjleUuxyIEFD07R232kd/kOGBxgdmbxP4j6rO/9VpUqD6NAufUqwKlV7cgawXyU2kkySbuPII/2pqA4HhwnSm7/wAisPguB7aq1jnZWTL3kgBlMXc4k8h84VbHFODb+X/IVtaOia4UsNSZ2rGPquFZwIeXBjLUWjK02JzPM/7UoMacNVbUpODoOZpg5SDII7wBi5GiyuLcS7au+pEAmGt/KxtmN8gB5ymsLWomkRXc4Q7u5BLoI7xO0C3n5qHjrb3fgbB2jVp0sPis3ZN7GsASG6scAJjxSHC+IhjDTqMD6Zdmy8nRlJHiAB5InDMRhsK41W1TXqBrhTYKbmNa5wIDqjnbCZgckphsPhzTbnrFlTvTLHOZH4btvOvPZCoaad8dV+dgOVu0qf8AI3xLAMFNtai6abiRDviY7kTuujxVKm7HcKFSMppUJnQlpJa3zcAPNczxHHUW0GYegXPaHuqVKjm5c7y0Na1rTcNAnXWZU/aTizHuwxovk0aVNuYAjvs70tnUA/RD7eRtL99/40Klxe0qMz7RVXvxVd9T43VXk+bjA8AICP8AZqi7t6TmXIqMgczIEecx5p/FNp4pwq1M1F5+KGlzSeYAuFpYTE4fC9+i41qwB7M5HMpU3ER2jy+HPI2AESmubePjW6r6JWFQly8eBmi1ranFAw90UqzRH/U/UlKcLx7QDReP4ToM65HbPH6hA4VVDaWJJIvRcC5xjM950k7kykvvLY19Ysq3tXaf1v8AZLZcx0tmrSovZi6LHEf61KCLggvbBHMLM49UjFYgW/1qn/kVpcF4pTNSi2scoZVY5r4Jy5XglscrLC4xiRUxFd40dWqEeGYx4WR4lLlv4JnL9SoG+pyEBUD55+aF2l/2Vu3jdP4jVJFajiN0LOUOrXBKXNc802MCrkzJMXVmqCF4J5mrQUK7VRmikOQj4mlW4oX9k17QadMQ1txbW7pm5N/0QKze60ktkl1mlth3cshul83W3glHlSChUUuib2N8QczP/D0E7NiZOmXUeN1fDVhkfOWQG5ZDSZLrxInT0SjXKrVwRoYQ0w1+eZluXLlneddrBFpVKfbukDJNSBaIyvya21iNlmxsExRo6F3ohetjYQcnSCuoucSG6DScv/5tPgtEMpNAyhtgBeMzjuTN/IWCTqVRFtQhGpIS22yysMIdbZqffaZyhxM5iLZYAGS7p2u5K4HENJd2hhuU6QTMt0B3iUu+kNlV1KG+KhKK6BnDI2FZWb2rZjJ2gkagNzXv4IOD5Oy3AEuju3171v6aKnZwql0phXcH5L0sRe+kE6DXKY16whOrEkk73XnU5KE9sbqUkQ7Wy5fyshOqFSxhVHNRJICUpUCc5DRKjUJMRUldhihkqytScLyJUBdlWlWDk01gMd1R2A5H1Q8kP9mVaYAJzHimGUezIL8ju1jNGbO7KO9/sy6WVGUhsCrOaANFHINYW9th6rqAxHdGaiMpjvjNDBmExmEukSo4myjLBhyXDL3i4EEuzG5B6Rog9mOSllMDQIbCWB32G4eGCo3P8GYZv+O+l/S6tjYzQDTi16faZL/87+KCIjRQAOSjzZYcfgd4h2IeDRJc2Lgz8QJBNxo6JHKbqcdXpZx2I7ut5sSScgnZotO6QbHJTYbKOJ0X5TNQVqYrM07PMzN8Wls/XnorvrM7W2Ts8wgkPyAcyIzR4XWZYqrroOCHubXk0eJ1qfa9zLkkfDniN5ziZ1ttsgYqrRGI7pHY523GeMkidRm0ScDkhvA3COMUirkbe7JxdRoe4NcHNmxbmiNviAPyQJRTSEGyljRFwmCVGTe2BLkNzk0WifhQKxbcBt1KF5E0rsWJVZXlKYU7vZYIlJgm5+n6oIKsSoDTGxl/MfUfuoc4RZx9Qk5XpXcQ/d0aFI93r4q5I9/3WbK9KHgMj6mlVDuIfGhVO0tqZSqmVPEF523ZpUatKBndVnfLljXab6IzPu2XvVawMaBrSJnYzyWPK8u4i3kl8mw04Wf9Sv4ZW3+dlZxwd+/X6d1tvndYisV3EjlJ+TWY7DXmpWjbutnzv9EjTxHNLgKHBdxQayzj5Gn4hsGJQhUEd4lDyLz2qUkiJZJy2y76o/CSpZVEXJQIUgKQFKVh3VRGrlFPEd1w5oML0BQTylZVeRWtCIKY5LrIWNn/2Q=="/>
          <p:cNvSpPr>
            <a:spLocks noChangeAspect="1" noChangeArrowheads="1"/>
          </p:cNvSpPr>
          <p:nvPr/>
        </p:nvSpPr>
        <p:spPr bwMode="auto">
          <a:xfrm>
            <a:off x="27463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a:extLst>
              <a:ext uri="{FF2B5EF4-FFF2-40B4-BE49-F238E27FC236}">
                <a16:creationId xmlns:a16="http://schemas.microsoft.com/office/drawing/2014/main" id="{54D70677-A89A-E504-22C1-0486E371518A}"/>
              </a:ext>
            </a:extLst>
          </p:cNvPr>
          <p:cNvSpPr txBox="1"/>
          <p:nvPr/>
        </p:nvSpPr>
        <p:spPr>
          <a:xfrm>
            <a:off x="274638" y="203528"/>
            <a:ext cx="4114800" cy="523220"/>
          </a:xfrm>
          <a:prstGeom prst="rect">
            <a:avLst/>
          </a:prstGeom>
          <a:noFill/>
          <a:ln>
            <a:noFill/>
          </a:ln>
        </p:spPr>
        <p:txBody>
          <a:bodyPr wrap="square" lIns="0" tIns="0" rIns="0" bIns="0" rtlCol="0">
            <a:spAutoFit/>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nthem for April 5, 2026</a:t>
            </a:r>
          </a:p>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C00000"/>
                </a:solidFill>
                <a:effectLst/>
                <a:uLnTx/>
                <a:uFillTx/>
                <a:latin typeface="Garamond" panose="02020404030301010803" pitchFamily="18" charset="0"/>
                <a:ea typeface="+mn-ea"/>
                <a:cs typeface="Arial" panose="020B0604020202020204" pitchFamily="34" charset="0"/>
              </a:rPr>
              <a:t>Tomorrow Shall Be My Dancing Day</a:t>
            </a:r>
          </a:p>
        </p:txBody>
      </p:sp>
      <p:graphicFrame>
        <p:nvGraphicFramePr>
          <p:cNvPr id="16" name="Table 15">
            <a:extLst>
              <a:ext uri="{FF2B5EF4-FFF2-40B4-BE49-F238E27FC236}">
                <a16:creationId xmlns:a16="http://schemas.microsoft.com/office/drawing/2014/main" id="{5D82CB46-1173-0568-D2AD-6C2D713C19ED}"/>
              </a:ext>
            </a:extLst>
          </p:cNvPr>
          <p:cNvGraphicFramePr>
            <a:graphicFrameLocks noGrp="1"/>
          </p:cNvGraphicFramePr>
          <p:nvPr>
            <p:extLst>
              <p:ext uri="{D42A27DB-BD31-4B8C-83A1-F6EECF244321}">
                <p14:modId xmlns:p14="http://schemas.microsoft.com/office/powerpoint/2010/main" val="3144447498"/>
              </p:ext>
            </p:extLst>
          </p:nvPr>
        </p:nvGraphicFramePr>
        <p:xfrm>
          <a:off x="350838" y="847493"/>
          <a:ext cx="4114800" cy="548640"/>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3429000">
                  <a:extLst>
                    <a:ext uri="{9D8B030D-6E8A-4147-A177-3AD203B41FA5}">
                      <a16:colId xmlns:a16="http://schemas.microsoft.com/office/drawing/2014/main" val="20001"/>
                    </a:ext>
                  </a:extLst>
                </a:gridCol>
              </a:tblGrid>
              <a:tr h="182880">
                <a:tc>
                  <a:txBody>
                    <a:bodyPr/>
                    <a:lstStyle/>
                    <a:p>
                      <a:r>
                        <a:rPr lang="en-US" sz="1200" b="1" dirty="0">
                          <a:solidFill>
                            <a:schemeClr val="tx1"/>
                          </a:solidFill>
                          <a:latin typeface="Arial" panose="020B0604020202020204" pitchFamily="34" charset="0"/>
                          <a:cs typeface="Arial" panose="020B0604020202020204" pitchFamily="34" charset="0"/>
                        </a:rPr>
                        <a:t>Music:</a:t>
                      </a:r>
                      <a:endParaRPr lang="en-US" sz="1200" dirty="0">
                        <a:solidFill>
                          <a:schemeClr val="tx1"/>
                        </a:solidFill>
                      </a:endParaRPr>
                    </a:p>
                  </a:txBody>
                  <a:tcPr marL="45720" marR="4572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40000"/>
                        <a:lumOff val="60000"/>
                      </a:schemeClr>
                    </a:solidFill>
                  </a:tcPr>
                </a:tc>
                <a:tc>
                  <a:txBody>
                    <a:bodyPr/>
                    <a:lstStyle/>
                    <a:p>
                      <a:pPr marL="0" marR="0" indent="0" algn="l" defTabSz="1018824"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Richard</a:t>
                      </a:r>
                      <a:r>
                        <a:rPr lang="en-US" sz="1200" b="0" baseline="0" dirty="0">
                          <a:solidFill>
                            <a:schemeClr val="tx1"/>
                          </a:solidFill>
                          <a:latin typeface="Arial" panose="020B0604020202020204" pitchFamily="34" charset="0"/>
                          <a:cs typeface="Arial" panose="020B0604020202020204" pitchFamily="34" charset="0"/>
                        </a:rPr>
                        <a:t> Shephard</a:t>
                      </a:r>
                      <a:r>
                        <a:rPr lang="en-US" sz="1200" b="0" dirty="0">
                          <a:solidFill>
                            <a:schemeClr val="tx1"/>
                          </a:solidFill>
                          <a:latin typeface="Arial" panose="020B0604020202020204" pitchFamily="34" charset="0"/>
                          <a:cs typeface="Arial" panose="020B0604020202020204" pitchFamily="34" charset="0"/>
                        </a:rPr>
                        <a:t>, (1949-2021)</a:t>
                      </a:r>
                    </a:p>
                  </a:txBody>
                  <a:tcPr marL="45720" marR="4572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0"/>
                  </a:ext>
                </a:extLst>
              </a:tr>
              <a:tr h="182880">
                <a:tc>
                  <a:txBody>
                    <a:bodyPr/>
                    <a:lstStyle/>
                    <a:p>
                      <a:r>
                        <a:rPr lang="en-US" sz="1200" b="1" dirty="0">
                          <a:latin typeface="Arial" panose="020B0604020202020204" pitchFamily="34" charset="0"/>
                          <a:cs typeface="Arial" panose="020B0604020202020204" pitchFamily="34" charset="0"/>
                        </a:rPr>
                        <a:t>Text:</a:t>
                      </a:r>
                      <a:endParaRPr lang="en-US" sz="1200" dirty="0"/>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r>
                        <a:rPr lang="en-US" sz="1200" i="0" dirty="0"/>
                        <a:t>Traditional</a:t>
                      </a:r>
                      <a:r>
                        <a:rPr lang="en-US" sz="1200" i="0" baseline="0" dirty="0"/>
                        <a:t> English Carol</a:t>
                      </a:r>
                      <a:endParaRPr lang="en-US" sz="1200" i="0" dirty="0"/>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bl>
          </a:graphicData>
        </a:graphic>
      </p:graphicFrame>
      <p:graphicFrame>
        <p:nvGraphicFramePr>
          <p:cNvPr id="19" name="Table 18">
            <a:extLst>
              <a:ext uri="{FF2B5EF4-FFF2-40B4-BE49-F238E27FC236}">
                <a16:creationId xmlns:a16="http://schemas.microsoft.com/office/drawing/2014/main" id="{8651B478-B239-2375-A0A8-E41544F00E20}"/>
              </a:ext>
            </a:extLst>
          </p:cNvPr>
          <p:cNvGraphicFramePr>
            <a:graphicFrameLocks noGrp="1"/>
          </p:cNvGraphicFramePr>
          <p:nvPr>
            <p:extLst>
              <p:ext uri="{D42A27DB-BD31-4B8C-83A1-F6EECF244321}">
                <p14:modId xmlns:p14="http://schemas.microsoft.com/office/powerpoint/2010/main" val="546554519"/>
              </p:ext>
            </p:extLst>
          </p:nvPr>
        </p:nvGraphicFramePr>
        <p:xfrm>
          <a:off x="274638" y="4648200"/>
          <a:ext cx="4244815" cy="1737360"/>
        </p:xfrm>
        <a:graphic>
          <a:graphicData uri="http://schemas.openxmlformats.org/drawingml/2006/table">
            <a:tbl>
              <a:tblPr firstRow="1" bandRow="1">
                <a:tableStyleId>{5C22544A-7EE6-4342-B048-85BDC9FD1C3A}</a:tableStyleId>
              </a:tblPr>
              <a:tblGrid>
                <a:gridCol w="1414938">
                  <a:extLst>
                    <a:ext uri="{9D8B030D-6E8A-4147-A177-3AD203B41FA5}">
                      <a16:colId xmlns:a16="http://schemas.microsoft.com/office/drawing/2014/main" val="20000"/>
                    </a:ext>
                  </a:extLst>
                </a:gridCol>
                <a:gridCol w="2829877">
                  <a:extLst>
                    <a:ext uri="{9D8B030D-6E8A-4147-A177-3AD203B41FA5}">
                      <a16:colId xmlns:a16="http://schemas.microsoft.com/office/drawing/2014/main" val="20001"/>
                    </a:ext>
                  </a:extLst>
                </a:gridCol>
              </a:tblGrid>
              <a:tr h="1526618">
                <a:tc>
                  <a:txBody>
                    <a:bodyPr/>
                    <a:lstStyle/>
                    <a:p>
                      <a:pPr algn="just"/>
                      <a:endParaRPr lang="en-US" sz="1000" b="0" dirty="0">
                        <a:solidFill>
                          <a:schemeClr val="tx1"/>
                        </a:solidFill>
                      </a:endParaRPr>
                    </a:p>
                  </a:txBody>
                  <a:tcPr marL="0" marR="0" marT="91440" marB="0">
                    <a:lnT w="9525" cap="flat" cmpd="sng" algn="ctr">
                      <a:solidFill>
                        <a:srgbClr val="C00000"/>
                      </a:solidFill>
                      <a:prstDash val="solid"/>
                      <a:round/>
                      <a:headEnd type="none" w="med" len="med"/>
                      <a:tailEnd type="none" w="med" len="med"/>
                    </a:lnT>
                    <a:noFill/>
                  </a:tcPr>
                </a:tc>
                <a:tc>
                  <a:txBody>
                    <a:bodyPr/>
                    <a:lstStyle/>
                    <a:p>
                      <a:pPr marL="0" marR="0" indent="0" algn="just" defTabSz="1018824"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Richard Shephard was educated at The King’s School, Gloucester and Corpus Christi College, Cambridge. He was Chamberlain of </a:t>
                      </a:r>
                      <a:r>
                        <a:rPr lang="en-US" sz="1200" b="0" dirty="0" err="1">
                          <a:solidFill>
                            <a:schemeClr val="tx1"/>
                          </a:solidFill>
                        </a:rPr>
                        <a:t>Yorkminster</a:t>
                      </a:r>
                      <a:r>
                        <a:rPr lang="en-US" sz="1200" b="0" dirty="0">
                          <a:solidFill>
                            <a:schemeClr val="tx1"/>
                          </a:solidFill>
                        </a:rPr>
                        <a:t>, head of their development department, and Honorary Visiting Fellow in the Music Department of the University of York. His compositions include operas, oratorios and orchestral</a:t>
                      </a:r>
                    </a:p>
                    <a:p>
                      <a:pPr algn="just"/>
                      <a:endParaRPr lang="en-US" sz="1200" b="0" dirty="0">
                        <a:solidFill>
                          <a:schemeClr val="tx1"/>
                        </a:solidFill>
                      </a:endParaRPr>
                    </a:p>
                  </a:txBody>
                  <a:tcPr marL="0" marR="0" marT="91440" marB="0">
                    <a:lnT w="9525" cap="flat" cmpd="sng" algn="ctr">
                      <a:solidFill>
                        <a:srgbClr val="C00000"/>
                      </a:solidFill>
                      <a:prstDash val="solid"/>
                      <a:round/>
                      <a:headEnd type="none" w="med" len="med"/>
                      <a:tailEnd type="none" w="med" len="med"/>
                    </a:lnT>
                    <a:noFill/>
                  </a:tcPr>
                </a:tc>
                <a:extLst>
                  <a:ext uri="{0D108BD9-81ED-4DB2-BD59-A6C34878D82A}">
                    <a16:rowId xmlns:a16="http://schemas.microsoft.com/office/drawing/2014/main" val="10000"/>
                  </a:ext>
                </a:extLst>
              </a:tr>
            </a:tbl>
          </a:graphicData>
        </a:graphic>
      </p:graphicFrame>
      <p:sp>
        <p:nvSpPr>
          <p:cNvPr id="23" name="TextBox 22">
            <a:extLst>
              <a:ext uri="{FF2B5EF4-FFF2-40B4-BE49-F238E27FC236}">
                <a16:creationId xmlns:a16="http://schemas.microsoft.com/office/drawing/2014/main" id="{E3510942-5A4F-C542-48F4-50A79C2DB528}"/>
              </a:ext>
            </a:extLst>
          </p:cNvPr>
          <p:cNvSpPr txBox="1"/>
          <p:nvPr/>
        </p:nvSpPr>
        <p:spPr>
          <a:xfrm>
            <a:off x="411512" y="6284593"/>
            <a:ext cx="4191000" cy="1292662"/>
          </a:xfrm>
          <a:prstGeom prst="rect">
            <a:avLst/>
          </a:prstGeom>
          <a:noFill/>
        </p:spPr>
        <p:txBody>
          <a:bodyPr wrap="square" lIns="0" tIns="0" rIns="0" bIns="0" rtlCol="0">
            <a:spAutoFit/>
          </a:bodyPr>
          <a:lstStyle/>
          <a:p>
            <a:pPr marL="0" marR="0" lvl="0" indent="0" algn="just"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works, but it is perhaps for his church music that he is best known. His anthems and service settings are sung widely in the cathedrals and churches of the UK and they have a considerable following in the USA. He holds the Lambeth Doctorate of Music from Oxford University and two Honorary Doctorates from the University of the South (Sewanee, TN) and the University of York (York, UK). </a:t>
            </a:r>
          </a:p>
        </p:txBody>
      </p:sp>
      <p:pic>
        <p:nvPicPr>
          <p:cNvPr id="24" name="Picture 23">
            <a:extLst>
              <a:ext uri="{FF2B5EF4-FFF2-40B4-BE49-F238E27FC236}">
                <a16:creationId xmlns:a16="http://schemas.microsoft.com/office/drawing/2014/main" id="{AC38E99B-2663-7E17-E9CD-31A4EF18F8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1512" y="4832696"/>
            <a:ext cx="1073361" cy="1389376"/>
          </a:xfrm>
          <a:prstGeom prst="rect">
            <a:avLst/>
          </a:prstGeom>
        </p:spPr>
      </p:pic>
      <p:sp>
        <p:nvSpPr>
          <p:cNvPr id="25" name="TextBox 24">
            <a:extLst>
              <a:ext uri="{FF2B5EF4-FFF2-40B4-BE49-F238E27FC236}">
                <a16:creationId xmlns:a16="http://schemas.microsoft.com/office/drawing/2014/main" id="{8F803121-217F-8402-12F6-5A866AC39888}"/>
              </a:ext>
            </a:extLst>
          </p:cNvPr>
          <p:cNvSpPr txBox="1"/>
          <p:nvPr/>
        </p:nvSpPr>
        <p:spPr>
          <a:xfrm>
            <a:off x="350838" y="1570223"/>
            <a:ext cx="2208996"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omorrow shall be my dancing day; </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I would my true love did so chance </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o see the legend of my play, </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o call my true love to my dance</a:t>
            </a:r>
          </a:p>
        </p:txBody>
      </p:sp>
      <p:sp>
        <p:nvSpPr>
          <p:cNvPr id="26" name="TextBox 25">
            <a:extLst>
              <a:ext uri="{FF2B5EF4-FFF2-40B4-BE49-F238E27FC236}">
                <a16:creationId xmlns:a16="http://schemas.microsoft.com/office/drawing/2014/main" id="{F523A875-4A71-BABB-6282-0749C556FE37}"/>
              </a:ext>
            </a:extLst>
          </p:cNvPr>
          <p:cNvSpPr txBox="1"/>
          <p:nvPr/>
        </p:nvSpPr>
        <p:spPr>
          <a:xfrm>
            <a:off x="344139" y="2388294"/>
            <a:ext cx="2057400" cy="461665"/>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1" i="1" u="none" strike="noStrike" kern="1200" cap="none" spc="0" normalizeH="0" baseline="0" noProof="0" dirty="0">
                <a:ln>
                  <a:noFill/>
                </a:ln>
                <a:solidFill>
                  <a:prstClr val="black"/>
                </a:solidFill>
                <a:effectLst/>
                <a:uLnTx/>
                <a:uFillTx/>
                <a:latin typeface="Arial"/>
                <a:ea typeface="+mn-ea"/>
                <a:cs typeface="+mn-cs"/>
              </a:rPr>
              <a:t>Chorus :</a:t>
            </a:r>
            <a:br>
              <a:rPr kumimoji="0" lang="en-US" sz="1000" b="0" i="0" u="none" strike="noStrike" kern="1200" cap="none" spc="0" normalizeH="0" baseline="0" noProof="0" dirty="0">
                <a:ln>
                  <a:noFill/>
                </a:ln>
                <a:solidFill>
                  <a:prstClr val="black"/>
                </a:solidFill>
                <a:effectLst/>
                <a:uLnTx/>
                <a:uFillTx/>
                <a:latin typeface="Arial"/>
                <a:ea typeface="+mn-ea"/>
                <a:cs typeface="+mn-cs"/>
              </a:rPr>
            </a:br>
            <a:r>
              <a:rPr kumimoji="0" lang="en-US" sz="1000" b="0" i="1" u="none" strike="noStrike" kern="1200" cap="none" spc="0" normalizeH="0" baseline="0" noProof="0" dirty="0">
                <a:ln>
                  <a:noFill/>
                </a:ln>
                <a:solidFill>
                  <a:prstClr val="black"/>
                </a:solidFill>
                <a:effectLst/>
                <a:uLnTx/>
                <a:uFillTx/>
                <a:latin typeface="Arial"/>
                <a:ea typeface="+mn-ea"/>
                <a:cs typeface="+mn-cs"/>
              </a:rPr>
              <a:t>Sing, oh! my love, oh! my love,</a:t>
            </a:r>
            <a:br>
              <a:rPr kumimoji="0" lang="en-US" sz="1000" b="0" i="0" u="none" strike="noStrike" kern="1200" cap="none" spc="0" normalizeH="0" baseline="0" noProof="0" dirty="0">
                <a:ln>
                  <a:noFill/>
                </a:ln>
                <a:solidFill>
                  <a:prstClr val="black"/>
                </a:solidFill>
                <a:effectLst/>
                <a:uLnTx/>
                <a:uFillTx/>
                <a:latin typeface="Arial"/>
                <a:ea typeface="+mn-ea"/>
                <a:cs typeface="+mn-cs"/>
              </a:rPr>
            </a:br>
            <a:r>
              <a:rPr kumimoji="0" lang="en-US" sz="1000" b="0" i="1" u="none" strike="noStrike" kern="1200" cap="none" spc="0" normalizeH="0" baseline="0" noProof="0" dirty="0">
                <a:ln>
                  <a:noFill/>
                </a:ln>
                <a:solidFill>
                  <a:prstClr val="black"/>
                </a:solidFill>
                <a:effectLst/>
                <a:uLnTx/>
                <a:uFillTx/>
                <a:latin typeface="Arial"/>
                <a:ea typeface="+mn-ea"/>
                <a:cs typeface="+mn-cs"/>
              </a:rPr>
              <a:t>This have I done for my true love</a:t>
            </a:r>
            <a:r>
              <a:rPr kumimoji="0" lang="en-US" sz="1000" b="0" i="1" u="none" strike="noStrike" kern="1200" cap="none" spc="0" normalizeH="0" baseline="0" noProof="0" dirty="0">
                <a:ln>
                  <a:noFill/>
                </a:ln>
                <a:solidFill>
                  <a:srgbClr val="313131"/>
                </a:solidFill>
                <a:effectLst/>
                <a:uLnTx/>
                <a:uFillTx/>
                <a:latin typeface="Arial"/>
                <a:ea typeface="+mn-ea"/>
                <a:cs typeface="+mn-cs"/>
              </a:rPr>
              <a:t>.</a:t>
            </a:r>
          </a:p>
        </p:txBody>
      </p:sp>
      <p:sp>
        <p:nvSpPr>
          <p:cNvPr id="28" name="TextBox 27">
            <a:extLst>
              <a:ext uri="{FF2B5EF4-FFF2-40B4-BE49-F238E27FC236}">
                <a16:creationId xmlns:a16="http://schemas.microsoft.com/office/drawing/2014/main" id="{FC6E2C5D-6F38-ED80-4F89-D826295D5ACD}"/>
              </a:ext>
            </a:extLst>
          </p:cNvPr>
          <p:cNvSpPr txBox="1"/>
          <p:nvPr/>
        </p:nvSpPr>
        <p:spPr>
          <a:xfrm>
            <a:off x="258675" y="3082911"/>
            <a:ext cx="2057400" cy="769441"/>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For thirty pence Judas me sold,</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His covetousness for to advance:</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Mark whom I kiss, the same do hold!</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he same is he shall lead the dance.</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endParaRPr kumimoji="0" lang="en-US" sz="1000" b="0" i="1" u="none" strike="noStrike" kern="1200" cap="none" spc="0" normalizeH="0" baseline="0" noProof="0" dirty="0">
              <a:ln>
                <a:noFill/>
              </a:ln>
              <a:solidFill>
                <a:srgbClr val="313131"/>
              </a:solidFill>
              <a:effectLst/>
              <a:uLnTx/>
              <a:uFillTx/>
              <a:latin typeface="Arial"/>
              <a:ea typeface="+mn-ea"/>
              <a:cs typeface="+mn-cs"/>
            </a:endParaRPr>
          </a:p>
        </p:txBody>
      </p:sp>
      <p:sp>
        <p:nvSpPr>
          <p:cNvPr id="31" name="TextBox 30">
            <a:extLst>
              <a:ext uri="{FF2B5EF4-FFF2-40B4-BE49-F238E27FC236}">
                <a16:creationId xmlns:a16="http://schemas.microsoft.com/office/drawing/2014/main" id="{6E823048-4F90-B8D2-9ACE-23E38E6E67DC}"/>
              </a:ext>
            </a:extLst>
          </p:cNvPr>
          <p:cNvSpPr txBox="1"/>
          <p:nvPr/>
        </p:nvSpPr>
        <p:spPr>
          <a:xfrm>
            <a:off x="2419961" y="2089980"/>
            <a:ext cx="2050663" cy="769441"/>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hen on the cross hanged I was,</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Where a spear my heart did glance;</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here issued forth both water and blood,</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o call my true love to my dance.</a:t>
            </a:r>
          </a:p>
        </p:txBody>
      </p:sp>
      <p:sp>
        <p:nvSpPr>
          <p:cNvPr id="40" name="TextBox 39">
            <a:extLst>
              <a:ext uri="{FF2B5EF4-FFF2-40B4-BE49-F238E27FC236}">
                <a16:creationId xmlns:a16="http://schemas.microsoft.com/office/drawing/2014/main" id="{71E9E761-BC4C-6693-DF45-553916421B50}"/>
              </a:ext>
            </a:extLst>
          </p:cNvPr>
          <p:cNvSpPr txBox="1"/>
          <p:nvPr/>
        </p:nvSpPr>
        <p:spPr>
          <a:xfrm>
            <a:off x="322949" y="3864268"/>
            <a:ext cx="2315143"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Before Pilate the Jews me brought,</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Where Barabbas had deliverance;</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They scourged me and set me at </a:t>
            </a:r>
            <a:r>
              <a:rPr kumimoji="0" lang="en-US" sz="1000" b="0" i="1" u="none" strike="noStrike" kern="1200" cap="none" spc="0" normalizeH="0" baseline="0" noProof="0" dirty="0" err="1">
                <a:ln>
                  <a:noFill/>
                </a:ln>
                <a:solidFill>
                  <a:srgbClr val="313131"/>
                </a:solidFill>
                <a:effectLst/>
                <a:uLnTx/>
                <a:uFillTx/>
                <a:latin typeface="Arial"/>
                <a:ea typeface="+mn-ea"/>
                <a:cs typeface="+mn-cs"/>
              </a:rPr>
              <a:t>nought</a:t>
            </a:r>
            <a:r>
              <a:rPr kumimoji="0" lang="en-US" sz="1000" b="0" i="1" u="none" strike="noStrike" kern="1200" cap="none" spc="0" normalizeH="0" baseline="0" noProof="0" dirty="0">
                <a:ln>
                  <a:noFill/>
                </a:ln>
                <a:solidFill>
                  <a:srgbClr val="313131"/>
                </a:solidFill>
                <a:effectLst/>
                <a:uLnTx/>
                <a:uFillTx/>
                <a:latin typeface="Arial"/>
                <a:ea typeface="+mn-ea"/>
                <a:cs typeface="+mn-cs"/>
              </a:rPr>
              <a:t>,</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srgbClr val="313131"/>
                </a:solidFill>
                <a:effectLst/>
                <a:uLnTx/>
                <a:uFillTx/>
                <a:latin typeface="Arial"/>
                <a:ea typeface="+mn-ea"/>
                <a:cs typeface="+mn-cs"/>
              </a:rPr>
              <a:t>Judged me to die to lead the dance..</a:t>
            </a:r>
          </a:p>
        </p:txBody>
      </p:sp>
      <p:sp>
        <p:nvSpPr>
          <p:cNvPr id="2" name="TextBox 1">
            <a:extLst>
              <a:ext uri="{FF2B5EF4-FFF2-40B4-BE49-F238E27FC236}">
                <a16:creationId xmlns:a16="http://schemas.microsoft.com/office/drawing/2014/main" id="{4A734F19-11B3-816A-9126-2D5FF443F6DA}"/>
              </a:ext>
            </a:extLst>
          </p:cNvPr>
          <p:cNvSpPr txBox="1"/>
          <p:nvPr/>
        </p:nvSpPr>
        <p:spPr>
          <a:xfrm>
            <a:off x="2443427" y="3037598"/>
            <a:ext cx="2174048"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Then up to heaven I did ascend,</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Where now I dwell in sure substance</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On the right hand of God, that man</a:t>
            </a:r>
          </a:p>
          <a:p>
            <a:pPr marL="0" marR="0" lvl="0" indent="0" algn="l" defTabSz="1018824"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May come unto the general dance</a:t>
            </a:r>
            <a:endParaRPr kumimoji="0" lang="en-US" sz="1000" b="0" i="1" u="none" strike="noStrike" kern="1200" cap="none" spc="0" normalizeH="0" baseline="0" noProof="0" dirty="0">
              <a:ln>
                <a:noFill/>
              </a:ln>
              <a:solidFill>
                <a:srgbClr val="313131"/>
              </a:solidFill>
              <a:effectLst/>
              <a:uLnTx/>
              <a:uFillTx/>
              <a:latin typeface="Arial"/>
              <a:ea typeface="+mn-ea"/>
              <a:cs typeface="+mn-cs"/>
            </a:endParaRPr>
          </a:p>
        </p:txBody>
      </p:sp>
      <p:sp>
        <p:nvSpPr>
          <p:cNvPr id="5" name="TextBox 4">
            <a:extLst>
              <a:ext uri="{FF2B5EF4-FFF2-40B4-BE49-F238E27FC236}">
                <a16:creationId xmlns:a16="http://schemas.microsoft.com/office/drawing/2014/main" id="{13C0D320-8333-82C5-FB2B-2C15817F919A}"/>
              </a:ext>
            </a:extLst>
          </p:cNvPr>
          <p:cNvSpPr txBox="1"/>
          <p:nvPr/>
        </p:nvSpPr>
        <p:spPr>
          <a:xfrm>
            <a:off x="5400345" y="312738"/>
            <a:ext cx="3996203" cy="615553"/>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b="1" dirty="0">
                <a:solidFill>
                  <a:schemeClr val="tx2"/>
                </a:solidFill>
                <a:latin typeface="Garamond" panose="02020404030301010803" pitchFamily="18" charset="0"/>
              </a:rPr>
              <a:t>Easter Lily Memorial</a:t>
            </a:r>
            <a:br>
              <a:rPr lang="en-US" b="1" dirty="0">
                <a:solidFill>
                  <a:schemeClr val="tx2"/>
                </a:solidFill>
                <a:latin typeface="Garamond" panose="02020404030301010803" pitchFamily="18" charset="0"/>
              </a:rPr>
            </a:br>
            <a:r>
              <a:rPr lang="en-US" b="1" dirty="0">
                <a:solidFill>
                  <a:schemeClr val="tx2"/>
                </a:solidFill>
                <a:latin typeface="Garamond" panose="02020404030301010803" pitchFamily="18" charset="0"/>
              </a:rPr>
              <a:t>Donations for 2026</a:t>
            </a:r>
          </a:p>
        </p:txBody>
      </p:sp>
      <p:pic>
        <p:nvPicPr>
          <p:cNvPr id="7" name="Picture 6">
            <a:extLst>
              <a:ext uri="{FF2B5EF4-FFF2-40B4-BE49-F238E27FC236}">
                <a16:creationId xmlns:a16="http://schemas.microsoft.com/office/drawing/2014/main" id="{39FDCDBA-8E34-6D44-B80F-9F3B4D9825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9334" y="312738"/>
            <a:ext cx="774428" cy="774428"/>
          </a:xfrm>
          <a:prstGeom prst="rect">
            <a:avLst/>
          </a:prstGeom>
        </p:spPr>
      </p:pic>
      <p:graphicFrame>
        <p:nvGraphicFramePr>
          <p:cNvPr id="11" name="Table 10">
            <a:extLst>
              <a:ext uri="{FF2B5EF4-FFF2-40B4-BE49-F238E27FC236}">
                <a16:creationId xmlns:a16="http://schemas.microsoft.com/office/drawing/2014/main" id="{5B26953E-F951-2B64-93E3-D70814044C7C}"/>
              </a:ext>
            </a:extLst>
          </p:cNvPr>
          <p:cNvGraphicFramePr>
            <a:graphicFrameLocks noGrp="1"/>
          </p:cNvGraphicFramePr>
          <p:nvPr>
            <p:extLst>
              <p:ext uri="{D42A27DB-BD31-4B8C-83A1-F6EECF244321}">
                <p14:modId xmlns:p14="http://schemas.microsoft.com/office/powerpoint/2010/main" val="335637061"/>
              </p:ext>
            </p:extLst>
          </p:nvPr>
        </p:nvGraphicFramePr>
        <p:xfrm>
          <a:off x="5730754" y="1313071"/>
          <a:ext cx="4159438" cy="6168972"/>
        </p:xfrm>
        <a:graphic>
          <a:graphicData uri="http://schemas.openxmlformats.org/drawingml/2006/table">
            <a:tbl>
              <a:tblPr>
                <a:tableStyleId>{5C22544A-7EE6-4342-B048-85BDC9FD1C3A}</a:tableStyleId>
              </a:tblPr>
              <a:tblGrid>
                <a:gridCol w="1463759">
                  <a:extLst>
                    <a:ext uri="{9D8B030D-6E8A-4147-A177-3AD203B41FA5}">
                      <a16:colId xmlns:a16="http://schemas.microsoft.com/office/drawing/2014/main" val="2197605625"/>
                    </a:ext>
                  </a:extLst>
                </a:gridCol>
                <a:gridCol w="2695679">
                  <a:extLst>
                    <a:ext uri="{9D8B030D-6E8A-4147-A177-3AD203B41FA5}">
                      <a16:colId xmlns:a16="http://schemas.microsoft.com/office/drawing/2014/main" val="2529791320"/>
                    </a:ext>
                  </a:extLst>
                </a:gridCol>
              </a:tblGrid>
              <a:tr h="292391">
                <a:tc>
                  <a:txBody>
                    <a:bodyPr/>
                    <a:lstStyle/>
                    <a:p>
                      <a:pPr algn="l" fontAlgn="ctr"/>
                      <a:r>
                        <a:rPr lang="en-US" sz="1200" b="0" i="0" u="none" strike="noStrike" dirty="0">
                          <a:solidFill>
                            <a:srgbClr val="000000"/>
                          </a:solidFill>
                          <a:effectLst/>
                          <a:latin typeface="Garamond" panose="02020404030301010803" pitchFamily="18" charset="0"/>
                        </a:rPr>
                        <a:t> Laura Andrad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William &amp; Hope Sutherlan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821232"/>
                  </a:ext>
                </a:extLst>
              </a:tr>
              <a:tr h="381000">
                <a:tc>
                  <a:txBody>
                    <a:bodyPr/>
                    <a:lstStyle/>
                    <a:p>
                      <a:pPr algn="l" fontAlgn="ctr"/>
                      <a:r>
                        <a:rPr lang="en-US" sz="1200" u="none" strike="noStrike" dirty="0">
                          <a:effectLst/>
                          <a:latin typeface="Garamond" panose="02020404030301010803" pitchFamily="18" charset="0"/>
                        </a:rPr>
                        <a:t>Pat Breinin</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Raymond Breinin, William &amp; Amy Prior, Edrie Renner</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3733303"/>
                  </a:ext>
                </a:extLst>
              </a:tr>
              <a:tr h="216191">
                <a:tc>
                  <a:txBody>
                    <a:bodyPr/>
                    <a:lstStyle/>
                    <a:p>
                      <a:pPr algn="l" fontAlgn="ctr"/>
                      <a:r>
                        <a:rPr lang="en-US" sz="1200" b="0" i="0" u="none" strike="noStrike" dirty="0">
                          <a:solidFill>
                            <a:srgbClr val="000000"/>
                          </a:solidFill>
                          <a:effectLst/>
                          <a:latin typeface="Garamond" panose="02020404030301010803" pitchFamily="18" charset="0"/>
                        </a:rPr>
                        <a:t>Marcia Brow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Loved On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4905223"/>
                  </a:ext>
                </a:extLst>
              </a:tr>
              <a:tr h="304800">
                <a:tc>
                  <a:txBody>
                    <a:bodyPr/>
                    <a:lstStyle/>
                    <a:p>
                      <a:pPr algn="l" fontAlgn="ctr"/>
                      <a:r>
                        <a:rPr lang="en-US" sz="1200" u="none" strike="noStrike" dirty="0">
                          <a:effectLst/>
                          <a:latin typeface="Garamond" panose="02020404030301010803" pitchFamily="18" charset="0"/>
                        </a:rPr>
                        <a:t>Sharon DeVivo</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The Rev. John Fierro and Frank DeVivo</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7096337"/>
                  </a:ext>
                </a:extLst>
              </a:tr>
              <a:tr h="457200">
                <a:tc>
                  <a:txBody>
                    <a:bodyPr/>
                    <a:lstStyle/>
                    <a:p>
                      <a:pPr algn="l" fontAlgn="ctr"/>
                      <a:r>
                        <a:rPr lang="en-US" sz="1200" u="none" strike="noStrike" dirty="0">
                          <a:effectLst/>
                          <a:latin typeface="Garamond" panose="02020404030301010803" pitchFamily="18" charset="0"/>
                        </a:rPr>
                        <a:t>Dennis DiVincenzo</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Maria and Adele DiVincenzo, Harold &amp; Betty Ackerman</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2737270"/>
                  </a:ext>
                </a:extLst>
              </a:tr>
              <a:tr h="304800">
                <a:tc>
                  <a:txBody>
                    <a:bodyPr/>
                    <a:lstStyle/>
                    <a:p>
                      <a:pPr algn="l" fontAlgn="ctr"/>
                      <a:r>
                        <a:rPr lang="en-US" sz="1200" b="0" i="0" u="none" strike="noStrike" dirty="0">
                          <a:solidFill>
                            <a:srgbClr val="000000"/>
                          </a:solidFill>
                          <a:effectLst/>
                          <a:latin typeface="Garamond" panose="02020404030301010803" pitchFamily="18" charset="0"/>
                        </a:rPr>
                        <a:t> Shirley Fierr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The Fierro and DeVivo Famili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551948"/>
                  </a:ext>
                </a:extLst>
              </a:tr>
              <a:tr h="457200">
                <a:tc>
                  <a:txBody>
                    <a:bodyPr/>
                    <a:lstStyle/>
                    <a:p>
                      <a:pPr algn="l" fontAlgn="ctr"/>
                      <a:r>
                        <a:rPr lang="en-US" sz="1200" b="0" i="0" u="none" strike="noStrike" dirty="0">
                          <a:solidFill>
                            <a:srgbClr val="000000"/>
                          </a:solidFill>
                          <a:effectLst/>
                          <a:latin typeface="Garamond" panose="02020404030301010803" pitchFamily="18" charset="0"/>
                        </a:rPr>
                        <a:t>Prudence Fisher &amp; David Lowenth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Ellen and Philip Crow, John Fisher,</a:t>
                      </a:r>
                    </a:p>
                    <a:p>
                      <a:pPr algn="l" fontAlgn="ctr"/>
                      <a:r>
                        <a:rPr lang="en-US" sz="1200" b="0" i="0" u="none" strike="noStrike" dirty="0">
                          <a:solidFill>
                            <a:srgbClr val="000000"/>
                          </a:solidFill>
                          <a:effectLst/>
                          <a:latin typeface="Garamond" panose="02020404030301010803" pitchFamily="18" charset="0"/>
                        </a:rPr>
                        <a:t>Sara &amp; William Fish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057388"/>
                  </a:ext>
                </a:extLst>
              </a:tr>
              <a:tr h="506131">
                <a:tc>
                  <a:txBody>
                    <a:bodyPr/>
                    <a:lstStyle/>
                    <a:p>
                      <a:pPr algn="l" fontAlgn="ctr"/>
                      <a:r>
                        <a:rPr lang="en-US" sz="1200" b="0" i="0" u="none" strike="noStrike" dirty="0">
                          <a:solidFill>
                            <a:srgbClr val="000000"/>
                          </a:solidFill>
                          <a:effectLst/>
                          <a:latin typeface="Garamond" panose="02020404030301010803" pitchFamily="18" charset="0"/>
                        </a:rPr>
                        <a:t>The Rev. Robert J. Godle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Betty Godley, Kristen Douglas, Anna &amp; Daniel McCarthy, Mary Patricia Godle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106064"/>
                  </a:ext>
                </a:extLst>
              </a:tr>
              <a:tr h="461444">
                <a:tc>
                  <a:txBody>
                    <a:bodyPr/>
                    <a:lstStyle/>
                    <a:p>
                      <a:pPr algn="l" fontAlgn="ctr"/>
                      <a:r>
                        <a:rPr lang="en-US" sz="1200" u="none" strike="noStrike" dirty="0">
                          <a:effectLst/>
                          <a:latin typeface="Garamond" panose="02020404030301010803" pitchFamily="18" charset="0"/>
                        </a:rPr>
                        <a:t>Ed, Nancy, &amp; Philip Gotthelf</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Vernon W. Wakefield, Philip E. &amp; Margaret L. Gotthelf</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384388"/>
                  </a:ext>
                </a:extLst>
              </a:tr>
              <a:tr h="210955">
                <a:tc>
                  <a:txBody>
                    <a:bodyPr/>
                    <a:lstStyle/>
                    <a:p>
                      <a:pPr algn="l" fontAlgn="ctr"/>
                      <a:r>
                        <a:rPr lang="en-US" sz="1200" u="none" strike="noStrike" dirty="0">
                          <a:effectLst/>
                          <a:latin typeface="Garamond" panose="02020404030301010803" pitchFamily="18" charset="0"/>
                        </a:rPr>
                        <a:t>Carolyn Ricci</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Chrystal Young, Florence &amp; Louis G. Ricci, Jr, Donald T. Ricci, Joan L. Staton, Doris Emerson</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9575643"/>
                  </a:ext>
                </a:extLst>
              </a:tr>
              <a:tr h="300855">
                <a:tc>
                  <a:txBody>
                    <a:bodyPr/>
                    <a:lstStyle/>
                    <a:p>
                      <a:pPr algn="l" fontAlgn="ctr"/>
                      <a:r>
                        <a:rPr lang="en-US" sz="1200" b="0" i="0" u="none" strike="noStrike" dirty="0">
                          <a:solidFill>
                            <a:srgbClr val="000000"/>
                          </a:solidFill>
                          <a:effectLst/>
                          <a:latin typeface="Garamond" panose="02020404030301010803" pitchFamily="18" charset="0"/>
                        </a:rPr>
                        <a:t>Sandra Sanne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0" i="0" u="none" strike="noStrike" dirty="0">
                          <a:solidFill>
                            <a:srgbClr val="000000"/>
                          </a:solidFill>
                          <a:effectLst/>
                          <a:latin typeface="Garamond" panose="02020404030301010803" pitchFamily="18" charset="0"/>
                        </a:rPr>
                        <a:t>Beloved Family Member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419768"/>
                  </a:ext>
                </a:extLst>
              </a:tr>
              <a:tr h="818193">
                <a:tc>
                  <a:txBody>
                    <a:bodyPr/>
                    <a:lstStyle/>
                    <a:p>
                      <a:pPr algn="l" fontAlgn="ctr"/>
                      <a:r>
                        <a:rPr lang="en-US" sz="1200" u="none" strike="noStrike" dirty="0">
                          <a:effectLst/>
                          <a:latin typeface="Garamond" panose="02020404030301010803" pitchFamily="18" charset="0"/>
                        </a:rPr>
                        <a:t>Dorothy Wakefield</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William &amp; Lenore Diffenderfer, Virginia Noth, the </a:t>
                      </a:r>
                      <a:r>
                        <a:rPr lang="en-US" sz="1200" u="none" strike="noStrike" dirty="0" err="1">
                          <a:effectLst/>
                          <a:latin typeface="Garamond" panose="02020404030301010803" pitchFamily="18" charset="0"/>
                        </a:rPr>
                        <a:t>Fagon</a:t>
                      </a:r>
                      <a:r>
                        <a:rPr lang="en-US" sz="1200" u="none" strike="noStrike" dirty="0">
                          <a:effectLst/>
                          <a:latin typeface="Garamond" panose="02020404030301010803" pitchFamily="18" charset="0"/>
                        </a:rPr>
                        <a:t> Family: Connie &amp; Frank, Bruce &amp; Nanette, Richard &amp; Anna Mae, and </a:t>
                      </a:r>
                      <a:r>
                        <a:rPr lang="en-US" sz="1200" b="0" i="0" u="none" strike="noStrike" dirty="0">
                          <a:solidFill>
                            <a:srgbClr val="000000"/>
                          </a:solidFill>
                          <a:effectLst/>
                          <a:latin typeface="Garamond" panose="02020404030301010803" pitchFamily="18" charset="0"/>
                        </a:rPr>
                        <a:t>Adele</a:t>
                      </a:r>
                      <a:endParaRPr lang="en-US" sz="1200" u="none" strike="noStrike" dirty="0">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499262"/>
                  </a:ext>
                </a:extLst>
              </a:tr>
              <a:tr h="284467">
                <a:tc>
                  <a:txBody>
                    <a:bodyPr/>
                    <a:lstStyle/>
                    <a:p>
                      <a:pPr algn="l" fontAlgn="ctr"/>
                      <a:r>
                        <a:rPr lang="en-US" sz="1200" u="none" strike="noStrike" dirty="0">
                          <a:effectLst/>
                          <a:latin typeface="Garamond" panose="02020404030301010803" pitchFamily="18" charset="0"/>
                        </a:rPr>
                        <a:t>Marcia Weaver</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 The Rufino and Weaver Families</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565316"/>
                  </a:ext>
                </a:extLst>
              </a:tr>
              <a:tr h="457200">
                <a:tc>
                  <a:txBody>
                    <a:bodyPr/>
                    <a:lstStyle/>
                    <a:p>
                      <a:pPr algn="l" fontAlgn="ctr"/>
                      <a:r>
                        <a:rPr lang="en-US" sz="1200" u="none" strike="noStrike" dirty="0">
                          <a:effectLst/>
                          <a:latin typeface="Garamond" panose="02020404030301010803" pitchFamily="18" charset="0"/>
                        </a:rPr>
                        <a:t>Helen Wiklund</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The Bedrossian, Bostonian, Wiklund, </a:t>
                      </a:r>
                      <a:r>
                        <a:rPr lang="en-US" sz="1200" u="none" strike="noStrike" dirty="0" err="1">
                          <a:effectLst/>
                          <a:latin typeface="Garamond" panose="02020404030301010803" pitchFamily="18" charset="0"/>
                        </a:rPr>
                        <a:t>Druffner</a:t>
                      </a:r>
                      <a:r>
                        <a:rPr lang="en-US" sz="1200" u="none" strike="noStrike" dirty="0">
                          <a:effectLst/>
                          <a:latin typeface="Garamond" panose="02020404030301010803" pitchFamily="18" charset="0"/>
                        </a:rPr>
                        <a:t>, and Martinsson Families</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7983512"/>
                  </a:ext>
                </a:extLst>
              </a:tr>
              <a:tr h="304800">
                <a:tc>
                  <a:txBody>
                    <a:bodyPr/>
                    <a:lstStyle/>
                    <a:p>
                      <a:pPr algn="l" fontAlgn="ctr"/>
                      <a:r>
                        <a:rPr lang="en-US" sz="1200" u="none" strike="noStrike" dirty="0">
                          <a:effectLst/>
                          <a:latin typeface="Garamond" panose="02020404030301010803" pitchFamily="18" charset="0"/>
                        </a:rPr>
                        <a:t>Kathy &amp; Larry Wolf</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u="none" strike="noStrike" dirty="0">
                          <a:effectLst/>
                          <a:latin typeface="Garamond" panose="02020404030301010803" pitchFamily="18" charset="0"/>
                        </a:rPr>
                        <a:t> Jane &amp; Mitch Fenimore, Richard Fox, Mozelle &amp; Tobias Wolf</a:t>
                      </a:r>
                      <a:endParaRPr lang="en-US" sz="1200" b="0" i="0" u="none" strike="noStrike" dirty="0">
                        <a:solidFill>
                          <a:srgbClr val="000000"/>
                        </a:solidFill>
                        <a:effectLst/>
                        <a:latin typeface="Garamond" panose="02020404030301010803" pitchFamily="18"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6869316"/>
                  </a:ext>
                </a:extLst>
              </a:tr>
            </a:tbl>
          </a:graphicData>
        </a:graphic>
      </p:graphicFrame>
    </p:spTree>
    <p:extLst>
      <p:ext uri="{BB962C8B-B14F-4D97-AF65-F5344CB8AC3E}">
        <p14:creationId xmlns:p14="http://schemas.microsoft.com/office/powerpoint/2010/main" val="10395234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_Deloitte US Brand</Template>
  <TotalTime>21028</TotalTime>
  <Words>551</Words>
  <Application>Microsoft Macintosh PowerPoint</Application>
  <PresentationFormat>Custom</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Garamond</vt:lpstr>
      <vt:lpstr>1_Deloitte Brand</vt:lpstr>
      <vt:lpstr>think-cell Slide</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lf, Katherine Fox</dc:creator>
  <cp:lastModifiedBy>Kathy Wolf</cp:lastModifiedBy>
  <cp:revision>117</cp:revision>
  <cp:lastPrinted>2016-11-01T12:11:23Z</cp:lastPrinted>
  <dcterms:created xsi:type="dcterms:W3CDTF">2013-04-03T21:53:53Z</dcterms:created>
  <dcterms:modified xsi:type="dcterms:W3CDTF">2026-04-03T01:43:45Z</dcterms:modified>
</cp:coreProperties>
</file>